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1"/>
  </p:notesMasterIdLst>
  <p:sldIdLst>
    <p:sldId id="5172" r:id="rId2"/>
    <p:sldId id="5191" r:id="rId3"/>
    <p:sldId id="5184" r:id="rId4"/>
    <p:sldId id="5181" r:id="rId5"/>
    <p:sldId id="5190" r:id="rId6"/>
    <p:sldId id="5192" r:id="rId7"/>
    <p:sldId id="5180" r:id="rId8"/>
    <p:sldId id="5173" r:id="rId9"/>
    <p:sldId id="5176" r:id="rId10"/>
    <p:sldId id="5174" r:id="rId11"/>
    <p:sldId id="5188" r:id="rId12"/>
    <p:sldId id="5193" r:id="rId13"/>
    <p:sldId id="5194" r:id="rId14"/>
    <p:sldId id="5195" r:id="rId15"/>
    <p:sldId id="5196" r:id="rId16"/>
    <p:sldId id="5198" r:id="rId17"/>
    <p:sldId id="5197" r:id="rId18"/>
    <p:sldId id="5200" r:id="rId19"/>
    <p:sldId id="5199"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C6A3F"/>
    <a:srgbClr val="409786"/>
    <a:srgbClr val="96C25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B456C22-6E14-43AA-860D-27F9212E67BF}" v="5" dt="2023-02-17T18:57:11.66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3155" autoAdjust="0"/>
  </p:normalViewPr>
  <p:slideViewPr>
    <p:cSldViewPr snapToGrid="0">
      <p:cViewPr varScale="1">
        <p:scale>
          <a:sx n="94" d="100"/>
          <a:sy n="94" d="100"/>
        </p:scale>
        <p:origin x="1230" y="7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microsoft.com/office/2016/11/relationships/changesInfo" Target="changesInfos/changesInfo1.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oton, Véronique (SPAC/PSPC)" userId="9ecb94de-8111-4b3a-95b0-af63f6324db7" providerId="ADAL" clId="{5B456C22-6E14-43AA-860D-27F9212E67BF}"/>
    <pc:docChg chg="undo custSel modSld">
      <pc:chgData name="Boton, Véronique (SPAC/PSPC)" userId="9ecb94de-8111-4b3a-95b0-af63f6324db7" providerId="ADAL" clId="{5B456C22-6E14-43AA-860D-27F9212E67BF}" dt="2023-02-17T19:52:32.127" v="1261" actId="20577"/>
      <pc:docMkLst>
        <pc:docMk/>
      </pc:docMkLst>
      <pc:sldChg chg="modSp mod modNotesTx">
        <pc:chgData name="Boton, Véronique (SPAC/PSPC)" userId="9ecb94de-8111-4b3a-95b0-af63f6324db7" providerId="ADAL" clId="{5B456C22-6E14-43AA-860D-27F9212E67BF}" dt="2023-02-17T18:34:51.582" v="748" actId="20577"/>
        <pc:sldMkLst>
          <pc:docMk/>
          <pc:sldMk cId="3442515629" sldId="5172"/>
        </pc:sldMkLst>
        <pc:spChg chg="mod">
          <ac:chgData name="Boton, Véronique (SPAC/PSPC)" userId="9ecb94de-8111-4b3a-95b0-af63f6324db7" providerId="ADAL" clId="{5B456C22-6E14-43AA-860D-27F9212E67BF}" dt="2023-02-17T18:33:46.654" v="596" actId="20577"/>
          <ac:spMkLst>
            <pc:docMk/>
            <pc:sldMk cId="3442515629" sldId="5172"/>
            <ac:spMk id="525" creationId="{1075EFC6-858B-9EF9-577B-63F79BA004FA}"/>
          </ac:spMkLst>
        </pc:spChg>
      </pc:sldChg>
      <pc:sldChg chg="modSp mod">
        <pc:chgData name="Boton, Véronique (SPAC/PSPC)" userId="9ecb94de-8111-4b3a-95b0-af63f6324db7" providerId="ADAL" clId="{5B456C22-6E14-43AA-860D-27F9212E67BF}" dt="2023-02-17T18:48:46.411" v="1002" actId="20577"/>
        <pc:sldMkLst>
          <pc:docMk/>
          <pc:sldMk cId="1176902884" sldId="5173"/>
        </pc:sldMkLst>
        <pc:spChg chg="mod">
          <ac:chgData name="Boton, Véronique (SPAC/PSPC)" userId="9ecb94de-8111-4b3a-95b0-af63f6324db7" providerId="ADAL" clId="{5B456C22-6E14-43AA-860D-27F9212E67BF}" dt="2023-02-17T18:48:46.411" v="1002" actId="20577"/>
          <ac:spMkLst>
            <pc:docMk/>
            <pc:sldMk cId="1176902884" sldId="5173"/>
            <ac:spMk id="2" creationId="{33BD7CF6-6F56-5018-8C2D-86F8FC988D20}"/>
          </ac:spMkLst>
        </pc:spChg>
      </pc:sldChg>
      <pc:sldChg chg="modSp mod">
        <pc:chgData name="Boton, Véronique (SPAC/PSPC)" userId="9ecb94de-8111-4b3a-95b0-af63f6324db7" providerId="ADAL" clId="{5B456C22-6E14-43AA-860D-27F9212E67BF}" dt="2023-02-17T18:50:55.835" v="1051" actId="20577"/>
        <pc:sldMkLst>
          <pc:docMk/>
          <pc:sldMk cId="1153973850" sldId="5174"/>
        </pc:sldMkLst>
        <pc:spChg chg="mod">
          <ac:chgData name="Boton, Véronique (SPAC/PSPC)" userId="9ecb94de-8111-4b3a-95b0-af63f6324db7" providerId="ADAL" clId="{5B456C22-6E14-43AA-860D-27F9212E67BF}" dt="2023-02-17T18:50:55.835" v="1051" actId="20577"/>
          <ac:spMkLst>
            <pc:docMk/>
            <pc:sldMk cId="1153973850" sldId="5174"/>
            <ac:spMk id="141" creationId="{6A9C6D9B-C617-8781-867B-4468651E4368}"/>
          </ac:spMkLst>
        </pc:spChg>
      </pc:sldChg>
      <pc:sldChg chg="modSp mod">
        <pc:chgData name="Boton, Véronique (SPAC/PSPC)" userId="9ecb94de-8111-4b3a-95b0-af63f6324db7" providerId="ADAL" clId="{5B456C22-6E14-43AA-860D-27F9212E67BF}" dt="2023-02-17T18:49:41.829" v="1015" actId="20577"/>
        <pc:sldMkLst>
          <pc:docMk/>
          <pc:sldMk cId="1602650912" sldId="5176"/>
        </pc:sldMkLst>
        <pc:spChg chg="mod">
          <ac:chgData name="Boton, Véronique (SPAC/PSPC)" userId="9ecb94de-8111-4b3a-95b0-af63f6324db7" providerId="ADAL" clId="{5B456C22-6E14-43AA-860D-27F9212E67BF}" dt="2023-02-17T18:49:41.829" v="1015" actId="20577"/>
          <ac:spMkLst>
            <pc:docMk/>
            <pc:sldMk cId="1602650912" sldId="5176"/>
            <ac:spMk id="3" creationId="{43BB42A1-CAB7-F3BE-E39A-4715561A6063}"/>
          </ac:spMkLst>
        </pc:spChg>
      </pc:sldChg>
      <pc:sldChg chg="addSp delSp modSp mod">
        <pc:chgData name="Boton, Véronique (SPAC/PSPC)" userId="9ecb94de-8111-4b3a-95b0-af63f6324db7" providerId="ADAL" clId="{5B456C22-6E14-43AA-860D-27F9212E67BF}" dt="2023-02-17T18:46:09.852" v="940" actId="6549"/>
        <pc:sldMkLst>
          <pc:docMk/>
          <pc:sldMk cId="2567680532" sldId="5181"/>
        </pc:sldMkLst>
        <pc:spChg chg="mod">
          <ac:chgData name="Boton, Véronique (SPAC/PSPC)" userId="9ecb94de-8111-4b3a-95b0-af63f6324db7" providerId="ADAL" clId="{5B456C22-6E14-43AA-860D-27F9212E67BF}" dt="2023-02-17T18:46:09.852" v="940" actId="6549"/>
          <ac:spMkLst>
            <pc:docMk/>
            <pc:sldMk cId="2567680532" sldId="5181"/>
            <ac:spMk id="4" creationId="{50356803-FC16-EDD3-41D2-F12ED660D11D}"/>
          </ac:spMkLst>
        </pc:spChg>
        <pc:spChg chg="mod">
          <ac:chgData name="Boton, Véronique (SPAC/PSPC)" userId="9ecb94de-8111-4b3a-95b0-af63f6324db7" providerId="ADAL" clId="{5B456C22-6E14-43AA-860D-27F9212E67BF}" dt="2023-02-17T18:44:06.465" v="830"/>
          <ac:spMkLst>
            <pc:docMk/>
            <pc:sldMk cId="2567680532" sldId="5181"/>
            <ac:spMk id="6" creationId="{97F51E84-F401-9468-2206-C3A7454F53D2}"/>
          </ac:spMkLst>
        </pc:spChg>
        <pc:spChg chg="mod">
          <ac:chgData name="Boton, Véronique (SPAC/PSPC)" userId="9ecb94de-8111-4b3a-95b0-af63f6324db7" providerId="ADAL" clId="{5B456C22-6E14-43AA-860D-27F9212E67BF}" dt="2023-02-17T18:44:06.465" v="830"/>
          <ac:spMkLst>
            <pc:docMk/>
            <pc:sldMk cId="2567680532" sldId="5181"/>
            <ac:spMk id="7" creationId="{8DC82BA3-43FF-8CD7-38CD-2564904A0282}"/>
          </ac:spMkLst>
        </pc:spChg>
        <pc:spChg chg="add mod">
          <ac:chgData name="Boton, Véronique (SPAC/PSPC)" userId="9ecb94de-8111-4b3a-95b0-af63f6324db7" providerId="ADAL" clId="{5B456C22-6E14-43AA-860D-27F9212E67BF}" dt="2023-02-17T18:44:06.465" v="830"/>
          <ac:spMkLst>
            <pc:docMk/>
            <pc:sldMk cId="2567680532" sldId="5181"/>
            <ac:spMk id="13" creationId="{F4250D25-00E5-D658-7C68-C983E61F810C}"/>
          </ac:spMkLst>
        </pc:spChg>
        <pc:spChg chg="mod">
          <ac:chgData name="Boton, Véronique (SPAC/PSPC)" userId="9ecb94de-8111-4b3a-95b0-af63f6324db7" providerId="ADAL" clId="{5B456C22-6E14-43AA-860D-27F9212E67BF}" dt="2023-02-17T18:44:06.465" v="830"/>
          <ac:spMkLst>
            <pc:docMk/>
            <pc:sldMk cId="2567680532" sldId="5181"/>
            <ac:spMk id="16" creationId="{FABB380A-9904-4500-D82F-4D4F97FA4729}"/>
          </ac:spMkLst>
        </pc:spChg>
        <pc:spChg chg="mod">
          <ac:chgData name="Boton, Véronique (SPAC/PSPC)" userId="9ecb94de-8111-4b3a-95b0-af63f6324db7" providerId="ADAL" clId="{5B456C22-6E14-43AA-860D-27F9212E67BF}" dt="2023-02-17T18:44:06.465" v="830"/>
          <ac:spMkLst>
            <pc:docMk/>
            <pc:sldMk cId="2567680532" sldId="5181"/>
            <ac:spMk id="17" creationId="{4802C2A8-CA26-CF00-CAEE-CA755CEC6372}"/>
          </ac:spMkLst>
        </pc:spChg>
        <pc:spChg chg="mod">
          <ac:chgData name="Boton, Véronique (SPAC/PSPC)" userId="9ecb94de-8111-4b3a-95b0-af63f6324db7" providerId="ADAL" clId="{5B456C22-6E14-43AA-860D-27F9212E67BF}" dt="2023-02-17T18:44:06.465" v="830"/>
          <ac:spMkLst>
            <pc:docMk/>
            <pc:sldMk cId="2567680532" sldId="5181"/>
            <ac:spMk id="18" creationId="{2014016B-9AFB-E966-7065-737E8C834C6A}"/>
          </ac:spMkLst>
        </pc:spChg>
        <pc:spChg chg="mod">
          <ac:chgData name="Boton, Véronique (SPAC/PSPC)" userId="9ecb94de-8111-4b3a-95b0-af63f6324db7" providerId="ADAL" clId="{5B456C22-6E14-43AA-860D-27F9212E67BF}" dt="2023-02-17T18:44:06.465" v="830"/>
          <ac:spMkLst>
            <pc:docMk/>
            <pc:sldMk cId="2567680532" sldId="5181"/>
            <ac:spMk id="19" creationId="{785DAFDE-8013-35F6-5F96-B03E6F96D1BC}"/>
          </ac:spMkLst>
        </pc:spChg>
        <pc:spChg chg="mod">
          <ac:chgData name="Boton, Véronique (SPAC/PSPC)" userId="9ecb94de-8111-4b3a-95b0-af63f6324db7" providerId="ADAL" clId="{5B456C22-6E14-43AA-860D-27F9212E67BF}" dt="2023-02-17T18:44:06.465" v="830"/>
          <ac:spMkLst>
            <pc:docMk/>
            <pc:sldMk cId="2567680532" sldId="5181"/>
            <ac:spMk id="21" creationId="{19396EAE-A4AA-B804-D9C8-A2496DB16AE4}"/>
          </ac:spMkLst>
        </pc:spChg>
        <pc:spChg chg="mod">
          <ac:chgData name="Boton, Véronique (SPAC/PSPC)" userId="9ecb94de-8111-4b3a-95b0-af63f6324db7" providerId="ADAL" clId="{5B456C22-6E14-43AA-860D-27F9212E67BF}" dt="2023-02-17T18:44:06.465" v="830"/>
          <ac:spMkLst>
            <pc:docMk/>
            <pc:sldMk cId="2567680532" sldId="5181"/>
            <ac:spMk id="22" creationId="{C26C349F-A4BA-DB07-E520-82A8613B7B41}"/>
          </ac:spMkLst>
        </pc:spChg>
        <pc:spChg chg="mod">
          <ac:chgData name="Boton, Véronique (SPAC/PSPC)" userId="9ecb94de-8111-4b3a-95b0-af63f6324db7" providerId="ADAL" clId="{5B456C22-6E14-43AA-860D-27F9212E67BF}" dt="2023-02-17T18:44:06.465" v="830"/>
          <ac:spMkLst>
            <pc:docMk/>
            <pc:sldMk cId="2567680532" sldId="5181"/>
            <ac:spMk id="23" creationId="{EF426FA6-47E1-C554-F906-532584672202}"/>
          </ac:spMkLst>
        </pc:spChg>
        <pc:spChg chg="mod">
          <ac:chgData name="Boton, Véronique (SPAC/PSPC)" userId="9ecb94de-8111-4b3a-95b0-af63f6324db7" providerId="ADAL" clId="{5B456C22-6E14-43AA-860D-27F9212E67BF}" dt="2023-02-17T18:44:06.465" v="830"/>
          <ac:spMkLst>
            <pc:docMk/>
            <pc:sldMk cId="2567680532" sldId="5181"/>
            <ac:spMk id="27" creationId="{DCBC39F1-9213-A683-53D4-3F1E00B372DC}"/>
          </ac:spMkLst>
        </pc:spChg>
        <pc:spChg chg="mod">
          <ac:chgData name="Boton, Véronique (SPAC/PSPC)" userId="9ecb94de-8111-4b3a-95b0-af63f6324db7" providerId="ADAL" clId="{5B456C22-6E14-43AA-860D-27F9212E67BF}" dt="2023-02-17T18:44:06.465" v="830"/>
          <ac:spMkLst>
            <pc:docMk/>
            <pc:sldMk cId="2567680532" sldId="5181"/>
            <ac:spMk id="28" creationId="{A176656D-6651-5108-B4BC-3B04A9F1FE01}"/>
          </ac:spMkLst>
        </pc:spChg>
        <pc:spChg chg="mod">
          <ac:chgData name="Boton, Véronique (SPAC/PSPC)" userId="9ecb94de-8111-4b3a-95b0-af63f6324db7" providerId="ADAL" clId="{5B456C22-6E14-43AA-860D-27F9212E67BF}" dt="2023-02-17T18:44:06.465" v="830"/>
          <ac:spMkLst>
            <pc:docMk/>
            <pc:sldMk cId="2567680532" sldId="5181"/>
            <ac:spMk id="29" creationId="{0980F1CA-C59D-3011-F53B-C1E496B39969}"/>
          </ac:spMkLst>
        </pc:spChg>
        <pc:spChg chg="mod">
          <ac:chgData name="Boton, Véronique (SPAC/PSPC)" userId="9ecb94de-8111-4b3a-95b0-af63f6324db7" providerId="ADAL" clId="{5B456C22-6E14-43AA-860D-27F9212E67BF}" dt="2023-02-17T18:44:06.465" v="830"/>
          <ac:spMkLst>
            <pc:docMk/>
            <pc:sldMk cId="2567680532" sldId="5181"/>
            <ac:spMk id="30" creationId="{FF98B953-E5FA-8FAF-2880-E2865E90B558}"/>
          </ac:spMkLst>
        </pc:spChg>
        <pc:spChg chg="mod">
          <ac:chgData name="Boton, Véronique (SPAC/PSPC)" userId="9ecb94de-8111-4b3a-95b0-af63f6324db7" providerId="ADAL" clId="{5B456C22-6E14-43AA-860D-27F9212E67BF}" dt="2023-02-17T18:44:06.465" v="830"/>
          <ac:spMkLst>
            <pc:docMk/>
            <pc:sldMk cId="2567680532" sldId="5181"/>
            <ac:spMk id="31" creationId="{85EFFC83-0FA8-E4A6-EB75-23A0189B8A0E}"/>
          </ac:spMkLst>
        </pc:spChg>
        <pc:spChg chg="mod">
          <ac:chgData name="Boton, Véronique (SPAC/PSPC)" userId="9ecb94de-8111-4b3a-95b0-af63f6324db7" providerId="ADAL" clId="{5B456C22-6E14-43AA-860D-27F9212E67BF}" dt="2023-02-17T18:44:06.465" v="830"/>
          <ac:spMkLst>
            <pc:docMk/>
            <pc:sldMk cId="2567680532" sldId="5181"/>
            <ac:spMk id="512" creationId="{73D3880A-9313-F8F9-9F44-3B3D20A86A86}"/>
          </ac:spMkLst>
        </pc:spChg>
        <pc:spChg chg="mod">
          <ac:chgData name="Boton, Véronique (SPAC/PSPC)" userId="9ecb94de-8111-4b3a-95b0-af63f6324db7" providerId="ADAL" clId="{5B456C22-6E14-43AA-860D-27F9212E67BF}" dt="2023-02-17T18:44:06.465" v="830"/>
          <ac:spMkLst>
            <pc:docMk/>
            <pc:sldMk cId="2567680532" sldId="5181"/>
            <ac:spMk id="513" creationId="{9BF2F690-CEE5-00BE-19AC-C874182FAE4D}"/>
          </ac:spMkLst>
        </pc:spChg>
        <pc:spChg chg="mod">
          <ac:chgData name="Boton, Véronique (SPAC/PSPC)" userId="9ecb94de-8111-4b3a-95b0-af63f6324db7" providerId="ADAL" clId="{5B456C22-6E14-43AA-860D-27F9212E67BF}" dt="2023-02-17T18:44:06.465" v="830"/>
          <ac:spMkLst>
            <pc:docMk/>
            <pc:sldMk cId="2567680532" sldId="5181"/>
            <ac:spMk id="514" creationId="{22F1BFDA-827F-30BC-C1D7-4811C2A86F7A}"/>
          </ac:spMkLst>
        </pc:spChg>
        <pc:spChg chg="mod">
          <ac:chgData name="Boton, Véronique (SPAC/PSPC)" userId="9ecb94de-8111-4b3a-95b0-af63f6324db7" providerId="ADAL" clId="{5B456C22-6E14-43AA-860D-27F9212E67BF}" dt="2023-02-17T18:44:06.465" v="830"/>
          <ac:spMkLst>
            <pc:docMk/>
            <pc:sldMk cId="2567680532" sldId="5181"/>
            <ac:spMk id="515" creationId="{A1795504-36A9-A044-04E4-DD91D29E1377}"/>
          </ac:spMkLst>
        </pc:spChg>
        <pc:spChg chg="mod">
          <ac:chgData name="Boton, Véronique (SPAC/PSPC)" userId="9ecb94de-8111-4b3a-95b0-af63f6324db7" providerId="ADAL" clId="{5B456C22-6E14-43AA-860D-27F9212E67BF}" dt="2023-02-17T18:44:06.465" v="830"/>
          <ac:spMkLst>
            <pc:docMk/>
            <pc:sldMk cId="2567680532" sldId="5181"/>
            <ac:spMk id="516" creationId="{21742A32-3AF9-670B-B0A3-B73D34D3E6B4}"/>
          </ac:spMkLst>
        </pc:spChg>
        <pc:spChg chg="mod">
          <ac:chgData name="Boton, Véronique (SPAC/PSPC)" userId="9ecb94de-8111-4b3a-95b0-af63f6324db7" providerId="ADAL" clId="{5B456C22-6E14-43AA-860D-27F9212E67BF}" dt="2023-02-17T18:44:06.465" v="830"/>
          <ac:spMkLst>
            <pc:docMk/>
            <pc:sldMk cId="2567680532" sldId="5181"/>
            <ac:spMk id="517" creationId="{2D006E2E-0FB6-9B2E-BC2D-ABF222E016AF}"/>
          </ac:spMkLst>
        </pc:spChg>
        <pc:spChg chg="mod">
          <ac:chgData name="Boton, Véronique (SPAC/PSPC)" userId="9ecb94de-8111-4b3a-95b0-af63f6324db7" providerId="ADAL" clId="{5B456C22-6E14-43AA-860D-27F9212E67BF}" dt="2023-02-17T18:44:06.465" v="830"/>
          <ac:spMkLst>
            <pc:docMk/>
            <pc:sldMk cId="2567680532" sldId="5181"/>
            <ac:spMk id="518" creationId="{A0FE2E8A-3945-C8DB-E658-78558EA31D79}"/>
          </ac:spMkLst>
        </pc:spChg>
        <pc:spChg chg="mod">
          <ac:chgData name="Boton, Véronique (SPAC/PSPC)" userId="9ecb94de-8111-4b3a-95b0-af63f6324db7" providerId="ADAL" clId="{5B456C22-6E14-43AA-860D-27F9212E67BF}" dt="2023-02-17T18:44:06.465" v="830"/>
          <ac:spMkLst>
            <pc:docMk/>
            <pc:sldMk cId="2567680532" sldId="5181"/>
            <ac:spMk id="519" creationId="{26E16E4E-41DC-B946-093A-D64B443FBD00}"/>
          </ac:spMkLst>
        </pc:spChg>
        <pc:spChg chg="mod">
          <ac:chgData name="Boton, Véronique (SPAC/PSPC)" userId="9ecb94de-8111-4b3a-95b0-af63f6324db7" providerId="ADAL" clId="{5B456C22-6E14-43AA-860D-27F9212E67BF}" dt="2023-02-17T18:44:06.465" v="830"/>
          <ac:spMkLst>
            <pc:docMk/>
            <pc:sldMk cId="2567680532" sldId="5181"/>
            <ac:spMk id="520" creationId="{1E38AA83-B006-894B-B5C9-D79628AE571B}"/>
          </ac:spMkLst>
        </pc:spChg>
        <pc:spChg chg="mod">
          <ac:chgData name="Boton, Véronique (SPAC/PSPC)" userId="9ecb94de-8111-4b3a-95b0-af63f6324db7" providerId="ADAL" clId="{5B456C22-6E14-43AA-860D-27F9212E67BF}" dt="2023-02-17T18:44:06.465" v="830"/>
          <ac:spMkLst>
            <pc:docMk/>
            <pc:sldMk cId="2567680532" sldId="5181"/>
            <ac:spMk id="521" creationId="{0936C35E-AF24-129A-656D-DDE89EF1CF50}"/>
          </ac:spMkLst>
        </pc:spChg>
        <pc:spChg chg="mod">
          <ac:chgData name="Boton, Véronique (SPAC/PSPC)" userId="9ecb94de-8111-4b3a-95b0-af63f6324db7" providerId="ADAL" clId="{5B456C22-6E14-43AA-860D-27F9212E67BF}" dt="2023-02-17T18:44:06.465" v="830"/>
          <ac:spMkLst>
            <pc:docMk/>
            <pc:sldMk cId="2567680532" sldId="5181"/>
            <ac:spMk id="522" creationId="{5B0102E2-ED7E-D432-D7D7-DDA0A5179E84}"/>
          </ac:spMkLst>
        </pc:spChg>
        <pc:spChg chg="mod">
          <ac:chgData name="Boton, Véronique (SPAC/PSPC)" userId="9ecb94de-8111-4b3a-95b0-af63f6324db7" providerId="ADAL" clId="{5B456C22-6E14-43AA-860D-27F9212E67BF}" dt="2023-02-17T18:44:06.465" v="830"/>
          <ac:spMkLst>
            <pc:docMk/>
            <pc:sldMk cId="2567680532" sldId="5181"/>
            <ac:spMk id="523" creationId="{34E0DF0C-878B-07DA-19AE-AAEFC993DB5F}"/>
          </ac:spMkLst>
        </pc:spChg>
        <pc:spChg chg="mod">
          <ac:chgData name="Boton, Véronique (SPAC/PSPC)" userId="9ecb94de-8111-4b3a-95b0-af63f6324db7" providerId="ADAL" clId="{5B456C22-6E14-43AA-860D-27F9212E67BF}" dt="2023-02-17T18:44:06.465" v="830"/>
          <ac:spMkLst>
            <pc:docMk/>
            <pc:sldMk cId="2567680532" sldId="5181"/>
            <ac:spMk id="524" creationId="{5919E13B-44F4-7C53-5DA4-296F383606FE}"/>
          </ac:spMkLst>
        </pc:spChg>
        <pc:spChg chg="mod">
          <ac:chgData name="Boton, Véronique (SPAC/PSPC)" userId="9ecb94de-8111-4b3a-95b0-af63f6324db7" providerId="ADAL" clId="{5B456C22-6E14-43AA-860D-27F9212E67BF}" dt="2023-02-17T18:44:06.465" v="830"/>
          <ac:spMkLst>
            <pc:docMk/>
            <pc:sldMk cId="2567680532" sldId="5181"/>
            <ac:spMk id="525" creationId="{490A9CF7-0DC7-EF4D-380C-07A3E4D5639D}"/>
          </ac:spMkLst>
        </pc:spChg>
        <pc:spChg chg="mod">
          <ac:chgData name="Boton, Véronique (SPAC/PSPC)" userId="9ecb94de-8111-4b3a-95b0-af63f6324db7" providerId="ADAL" clId="{5B456C22-6E14-43AA-860D-27F9212E67BF}" dt="2023-02-17T18:44:06.465" v="830"/>
          <ac:spMkLst>
            <pc:docMk/>
            <pc:sldMk cId="2567680532" sldId="5181"/>
            <ac:spMk id="526" creationId="{53D54752-3EF3-2383-B725-6EBEA7FC9274}"/>
          </ac:spMkLst>
        </pc:spChg>
        <pc:spChg chg="mod">
          <ac:chgData name="Boton, Véronique (SPAC/PSPC)" userId="9ecb94de-8111-4b3a-95b0-af63f6324db7" providerId="ADAL" clId="{5B456C22-6E14-43AA-860D-27F9212E67BF}" dt="2023-02-17T18:44:06.465" v="830"/>
          <ac:spMkLst>
            <pc:docMk/>
            <pc:sldMk cId="2567680532" sldId="5181"/>
            <ac:spMk id="527" creationId="{D86C78ED-A523-33C9-FCC4-2576038AAA7E}"/>
          </ac:spMkLst>
        </pc:spChg>
        <pc:spChg chg="mod">
          <ac:chgData name="Boton, Véronique (SPAC/PSPC)" userId="9ecb94de-8111-4b3a-95b0-af63f6324db7" providerId="ADAL" clId="{5B456C22-6E14-43AA-860D-27F9212E67BF}" dt="2023-02-17T18:44:06.465" v="830"/>
          <ac:spMkLst>
            <pc:docMk/>
            <pc:sldMk cId="2567680532" sldId="5181"/>
            <ac:spMk id="528" creationId="{5DB4952C-EFE7-1D1F-631C-3096391832C8}"/>
          </ac:spMkLst>
        </pc:spChg>
        <pc:spChg chg="mod">
          <ac:chgData name="Boton, Véronique (SPAC/PSPC)" userId="9ecb94de-8111-4b3a-95b0-af63f6324db7" providerId="ADAL" clId="{5B456C22-6E14-43AA-860D-27F9212E67BF}" dt="2023-02-17T18:44:06.465" v="830"/>
          <ac:spMkLst>
            <pc:docMk/>
            <pc:sldMk cId="2567680532" sldId="5181"/>
            <ac:spMk id="529" creationId="{FF674A72-C927-1FB0-1780-3290F32C0DAE}"/>
          </ac:spMkLst>
        </pc:spChg>
        <pc:spChg chg="mod">
          <ac:chgData name="Boton, Véronique (SPAC/PSPC)" userId="9ecb94de-8111-4b3a-95b0-af63f6324db7" providerId="ADAL" clId="{5B456C22-6E14-43AA-860D-27F9212E67BF}" dt="2023-02-17T18:44:06.465" v="830"/>
          <ac:spMkLst>
            <pc:docMk/>
            <pc:sldMk cId="2567680532" sldId="5181"/>
            <ac:spMk id="530" creationId="{B321B01C-DC77-C77C-74E8-D4CAFEA9A25F}"/>
          </ac:spMkLst>
        </pc:spChg>
        <pc:spChg chg="mod">
          <ac:chgData name="Boton, Véronique (SPAC/PSPC)" userId="9ecb94de-8111-4b3a-95b0-af63f6324db7" providerId="ADAL" clId="{5B456C22-6E14-43AA-860D-27F9212E67BF}" dt="2023-02-17T18:44:06.465" v="830"/>
          <ac:spMkLst>
            <pc:docMk/>
            <pc:sldMk cId="2567680532" sldId="5181"/>
            <ac:spMk id="532" creationId="{0A617FEB-2EF0-1E92-1998-F2EABE63E920}"/>
          </ac:spMkLst>
        </pc:spChg>
        <pc:spChg chg="mod">
          <ac:chgData name="Boton, Véronique (SPAC/PSPC)" userId="9ecb94de-8111-4b3a-95b0-af63f6324db7" providerId="ADAL" clId="{5B456C22-6E14-43AA-860D-27F9212E67BF}" dt="2023-02-17T18:44:06.465" v="830"/>
          <ac:spMkLst>
            <pc:docMk/>
            <pc:sldMk cId="2567680532" sldId="5181"/>
            <ac:spMk id="533" creationId="{189550E6-62E2-E4C8-1DAB-71A01F7D65E1}"/>
          </ac:spMkLst>
        </pc:spChg>
        <pc:spChg chg="mod">
          <ac:chgData name="Boton, Véronique (SPAC/PSPC)" userId="9ecb94de-8111-4b3a-95b0-af63f6324db7" providerId="ADAL" clId="{5B456C22-6E14-43AA-860D-27F9212E67BF}" dt="2023-02-17T18:44:06.465" v="830"/>
          <ac:spMkLst>
            <pc:docMk/>
            <pc:sldMk cId="2567680532" sldId="5181"/>
            <ac:spMk id="534" creationId="{CED505B6-3FF0-9447-FCC0-B5DDF79874FA}"/>
          </ac:spMkLst>
        </pc:spChg>
        <pc:spChg chg="mod">
          <ac:chgData name="Boton, Véronique (SPAC/PSPC)" userId="9ecb94de-8111-4b3a-95b0-af63f6324db7" providerId="ADAL" clId="{5B456C22-6E14-43AA-860D-27F9212E67BF}" dt="2023-02-17T18:44:06.465" v="830"/>
          <ac:spMkLst>
            <pc:docMk/>
            <pc:sldMk cId="2567680532" sldId="5181"/>
            <ac:spMk id="535" creationId="{0016F77C-A6E1-8640-7DCE-57906619080F}"/>
          </ac:spMkLst>
        </pc:spChg>
        <pc:spChg chg="mod">
          <ac:chgData name="Boton, Véronique (SPAC/PSPC)" userId="9ecb94de-8111-4b3a-95b0-af63f6324db7" providerId="ADAL" clId="{5B456C22-6E14-43AA-860D-27F9212E67BF}" dt="2023-02-17T18:44:06.465" v="830"/>
          <ac:spMkLst>
            <pc:docMk/>
            <pc:sldMk cId="2567680532" sldId="5181"/>
            <ac:spMk id="536" creationId="{F8944C53-F3FC-9F8F-AAC8-713B2500AA65}"/>
          </ac:spMkLst>
        </pc:spChg>
        <pc:spChg chg="mod">
          <ac:chgData name="Boton, Véronique (SPAC/PSPC)" userId="9ecb94de-8111-4b3a-95b0-af63f6324db7" providerId="ADAL" clId="{5B456C22-6E14-43AA-860D-27F9212E67BF}" dt="2023-02-17T18:44:06.465" v="830"/>
          <ac:spMkLst>
            <pc:docMk/>
            <pc:sldMk cId="2567680532" sldId="5181"/>
            <ac:spMk id="537" creationId="{38ED9E1E-03A7-40BA-275E-BAA0A18A94F4}"/>
          </ac:spMkLst>
        </pc:spChg>
        <pc:spChg chg="mod">
          <ac:chgData name="Boton, Véronique (SPAC/PSPC)" userId="9ecb94de-8111-4b3a-95b0-af63f6324db7" providerId="ADAL" clId="{5B456C22-6E14-43AA-860D-27F9212E67BF}" dt="2023-02-17T18:44:06.465" v="830"/>
          <ac:spMkLst>
            <pc:docMk/>
            <pc:sldMk cId="2567680532" sldId="5181"/>
            <ac:spMk id="538" creationId="{2EEB074B-1E54-5699-73B2-4E51E3A03F32}"/>
          </ac:spMkLst>
        </pc:spChg>
        <pc:spChg chg="mod">
          <ac:chgData name="Boton, Véronique (SPAC/PSPC)" userId="9ecb94de-8111-4b3a-95b0-af63f6324db7" providerId="ADAL" clId="{5B456C22-6E14-43AA-860D-27F9212E67BF}" dt="2023-02-17T18:44:06.465" v="830"/>
          <ac:spMkLst>
            <pc:docMk/>
            <pc:sldMk cId="2567680532" sldId="5181"/>
            <ac:spMk id="539" creationId="{1676AA6C-ABB5-2C78-6957-AD4FD5C39309}"/>
          </ac:spMkLst>
        </pc:spChg>
        <pc:spChg chg="mod">
          <ac:chgData name="Boton, Véronique (SPAC/PSPC)" userId="9ecb94de-8111-4b3a-95b0-af63f6324db7" providerId="ADAL" clId="{5B456C22-6E14-43AA-860D-27F9212E67BF}" dt="2023-02-17T18:44:06.465" v="830"/>
          <ac:spMkLst>
            <pc:docMk/>
            <pc:sldMk cId="2567680532" sldId="5181"/>
            <ac:spMk id="540" creationId="{E3645F1E-E423-428D-E5FD-1AFB7D3FA8B7}"/>
          </ac:spMkLst>
        </pc:spChg>
        <pc:spChg chg="mod">
          <ac:chgData name="Boton, Véronique (SPAC/PSPC)" userId="9ecb94de-8111-4b3a-95b0-af63f6324db7" providerId="ADAL" clId="{5B456C22-6E14-43AA-860D-27F9212E67BF}" dt="2023-02-17T18:44:06.465" v="830"/>
          <ac:spMkLst>
            <pc:docMk/>
            <pc:sldMk cId="2567680532" sldId="5181"/>
            <ac:spMk id="541" creationId="{FB7A3564-34B8-1B21-903D-92E857D081A0}"/>
          </ac:spMkLst>
        </pc:spChg>
        <pc:spChg chg="mod">
          <ac:chgData name="Boton, Véronique (SPAC/PSPC)" userId="9ecb94de-8111-4b3a-95b0-af63f6324db7" providerId="ADAL" clId="{5B456C22-6E14-43AA-860D-27F9212E67BF}" dt="2023-02-17T18:44:06.465" v="830"/>
          <ac:spMkLst>
            <pc:docMk/>
            <pc:sldMk cId="2567680532" sldId="5181"/>
            <ac:spMk id="542" creationId="{A0DD6974-A7A4-5A0F-24D9-35A61E8BA79C}"/>
          </ac:spMkLst>
        </pc:spChg>
        <pc:spChg chg="mod">
          <ac:chgData name="Boton, Véronique (SPAC/PSPC)" userId="9ecb94de-8111-4b3a-95b0-af63f6324db7" providerId="ADAL" clId="{5B456C22-6E14-43AA-860D-27F9212E67BF}" dt="2023-02-17T18:44:06.465" v="830"/>
          <ac:spMkLst>
            <pc:docMk/>
            <pc:sldMk cId="2567680532" sldId="5181"/>
            <ac:spMk id="543" creationId="{354FF2A7-F795-084C-9227-3FE277958DD4}"/>
          </ac:spMkLst>
        </pc:spChg>
        <pc:spChg chg="mod">
          <ac:chgData name="Boton, Véronique (SPAC/PSPC)" userId="9ecb94de-8111-4b3a-95b0-af63f6324db7" providerId="ADAL" clId="{5B456C22-6E14-43AA-860D-27F9212E67BF}" dt="2023-02-17T18:44:06.465" v="830"/>
          <ac:spMkLst>
            <pc:docMk/>
            <pc:sldMk cId="2567680532" sldId="5181"/>
            <ac:spMk id="544" creationId="{0BAD3C8C-A2AF-2AF7-F963-374F56001357}"/>
          </ac:spMkLst>
        </pc:spChg>
        <pc:spChg chg="mod">
          <ac:chgData name="Boton, Véronique (SPAC/PSPC)" userId="9ecb94de-8111-4b3a-95b0-af63f6324db7" providerId="ADAL" clId="{5B456C22-6E14-43AA-860D-27F9212E67BF}" dt="2023-02-17T18:44:06.465" v="830"/>
          <ac:spMkLst>
            <pc:docMk/>
            <pc:sldMk cId="2567680532" sldId="5181"/>
            <ac:spMk id="547" creationId="{C5277279-2D9A-E4B8-9ED9-972A5502B777}"/>
          </ac:spMkLst>
        </pc:spChg>
        <pc:spChg chg="mod">
          <ac:chgData name="Boton, Véronique (SPAC/PSPC)" userId="9ecb94de-8111-4b3a-95b0-af63f6324db7" providerId="ADAL" clId="{5B456C22-6E14-43AA-860D-27F9212E67BF}" dt="2023-02-17T18:44:06.465" v="830"/>
          <ac:spMkLst>
            <pc:docMk/>
            <pc:sldMk cId="2567680532" sldId="5181"/>
            <ac:spMk id="549" creationId="{A6FF3795-120D-6116-346F-C7E73051345B}"/>
          </ac:spMkLst>
        </pc:spChg>
        <pc:spChg chg="mod">
          <ac:chgData name="Boton, Véronique (SPAC/PSPC)" userId="9ecb94de-8111-4b3a-95b0-af63f6324db7" providerId="ADAL" clId="{5B456C22-6E14-43AA-860D-27F9212E67BF}" dt="2023-02-17T18:44:06.465" v="830"/>
          <ac:spMkLst>
            <pc:docMk/>
            <pc:sldMk cId="2567680532" sldId="5181"/>
            <ac:spMk id="550" creationId="{8D96B681-6641-24E0-8999-51B0AFB37392}"/>
          </ac:spMkLst>
        </pc:spChg>
        <pc:spChg chg="mod">
          <ac:chgData name="Boton, Véronique (SPAC/PSPC)" userId="9ecb94de-8111-4b3a-95b0-af63f6324db7" providerId="ADAL" clId="{5B456C22-6E14-43AA-860D-27F9212E67BF}" dt="2023-02-17T18:44:06.465" v="830"/>
          <ac:spMkLst>
            <pc:docMk/>
            <pc:sldMk cId="2567680532" sldId="5181"/>
            <ac:spMk id="551" creationId="{C7C1E6AE-E408-73CB-03F0-83B53C9C04D9}"/>
          </ac:spMkLst>
        </pc:spChg>
        <pc:spChg chg="mod">
          <ac:chgData name="Boton, Véronique (SPAC/PSPC)" userId="9ecb94de-8111-4b3a-95b0-af63f6324db7" providerId="ADAL" clId="{5B456C22-6E14-43AA-860D-27F9212E67BF}" dt="2023-02-17T18:44:06.465" v="830"/>
          <ac:spMkLst>
            <pc:docMk/>
            <pc:sldMk cId="2567680532" sldId="5181"/>
            <ac:spMk id="552" creationId="{530AD565-3C97-5800-7899-8CBC05C8543F}"/>
          </ac:spMkLst>
        </pc:spChg>
        <pc:spChg chg="mod">
          <ac:chgData name="Boton, Véronique (SPAC/PSPC)" userId="9ecb94de-8111-4b3a-95b0-af63f6324db7" providerId="ADAL" clId="{5B456C22-6E14-43AA-860D-27F9212E67BF}" dt="2023-02-17T18:44:06.465" v="830"/>
          <ac:spMkLst>
            <pc:docMk/>
            <pc:sldMk cId="2567680532" sldId="5181"/>
            <ac:spMk id="553" creationId="{66957B79-6F0E-AB07-D673-C78842CEA38C}"/>
          </ac:spMkLst>
        </pc:spChg>
        <pc:spChg chg="mod">
          <ac:chgData name="Boton, Véronique (SPAC/PSPC)" userId="9ecb94de-8111-4b3a-95b0-af63f6324db7" providerId="ADAL" clId="{5B456C22-6E14-43AA-860D-27F9212E67BF}" dt="2023-02-17T18:44:06.465" v="830"/>
          <ac:spMkLst>
            <pc:docMk/>
            <pc:sldMk cId="2567680532" sldId="5181"/>
            <ac:spMk id="554" creationId="{EBEDF487-7A2F-AEDD-B050-57D9A9F1FD70}"/>
          </ac:spMkLst>
        </pc:spChg>
        <pc:spChg chg="mod">
          <ac:chgData name="Boton, Véronique (SPAC/PSPC)" userId="9ecb94de-8111-4b3a-95b0-af63f6324db7" providerId="ADAL" clId="{5B456C22-6E14-43AA-860D-27F9212E67BF}" dt="2023-02-17T18:44:06.465" v="830"/>
          <ac:spMkLst>
            <pc:docMk/>
            <pc:sldMk cId="2567680532" sldId="5181"/>
            <ac:spMk id="557" creationId="{4E3B154A-F035-9B63-8835-29572BF28505}"/>
          </ac:spMkLst>
        </pc:spChg>
        <pc:spChg chg="mod">
          <ac:chgData name="Boton, Véronique (SPAC/PSPC)" userId="9ecb94de-8111-4b3a-95b0-af63f6324db7" providerId="ADAL" clId="{5B456C22-6E14-43AA-860D-27F9212E67BF}" dt="2023-02-17T18:44:06.465" v="830"/>
          <ac:spMkLst>
            <pc:docMk/>
            <pc:sldMk cId="2567680532" sldId="5181"/>
            <ac:spMk id="558" creationId="{D7C1A057-8EBC-6FD9-6740-4D9CA7267DE8}"/>
          </ac:spMkLst>
        </pc:spChg>
        <pc:spChg chg="mod">
          <ac:chgData name="Boton, Véronique (SPAC/PSPC)" userId="9ecb94de-8111-4b3a-95b0-af63f6324db7" providerId="ADAL" clId="{5B456C22-6E14-43AA-860D-27F9212E67BF}" dt="2023-02-17T18:44:06.465" v="830"/>
          <ac:spMkLst>
            <pc:docMk/>
            <pc:sldMk cId="2567680532" sldId="5181"/>
            <ac:spMk id="559" creationId="{81E7230D-F75E-4049-1341-2F9E546714C7}"/>
          </ac:spMkLst>
        </pc:spChg>
        <pc:spChg chg="mod">
          <ac:chgData name="Boton, Véronique (SPAC/PSPC)" userId="9ecb94de-8111-4b3a-95b0-af63f6324db7" providerId="ADAL" clId="{5B456C22-6E14-43AA-860D-27F9212E67BF}" dt="2023-02-17T18:44:06.465" v="830"/>
          <ac:spMkLst>
            <pc:docMk/>
            <pc:sldMk cId="2567680532" sldId="5181"/>
            <ac:spMk id="561" creationId="{A4F4DBD6-39AD-82BA-2F12-FCF111A6F34A}"/>
          </ac:spMkLst>
        </pc:spChg>
        <pc:spChg chg="mod">
          <ac:chgData name="Boton, Véronique (SPAC/PSPC)" userId="9ecb94de-8111-4b3a-95b0-af63f6324db7" providerId="ADAL" clId="{5B456C22-6E14-43AA-860D-27F9212E67BF}" dt="2023-02-17T18:44:06.465" v="830"/>
          <ac:spMkLst>
            <pc:docMk/>
            <pc:sldMk cId="2567680532" sldId="5181"/>
            <ac:spMk id="562" creationId="{6BED781A-1D8F-6722-B79E-91B70CB745E8}"/>
          </ac:spMkLst>
        </pc:spChg>
        <pc:spChg chg="mod">
          <ac:chgData name="Boton, Véronique (SPAC/PSPC)" userId="9ecb94de-8111-4b3a-95b0-af63f6324db7" providerId="ADAL" clId="{5B456C22-6E14-43AA-860D-27F9212E67BF}" dt="2023-02-17T18:44:06.465" v="830"/>
          <ac:spMkLst>
            <pc:docMk/>
            <pc:sldMk cId="2567680532" sldId="5181"/>
            <ac:spMk id="563" creationId="{05C8B253-6E66-EE3C-D8A7-6C1800ADCF89}"/>
          </ac:spMkLst>
        </pc:spChg>
        <pc:spChg chg="mod">
          <ac:chgData name="Boton, Véronique (SPAC/PSPC)" userId="9ecb94de-8111-4b3a-95b0-af63f6324db7" providerId="ADAL" clId="{5B456C22-6E14-43AA-860D-27F9212E67BF}" dt="2023-02-17T18:44:06.465" v="830"/>
          <ac:spMkLst>
            <pc:docMk/>
            <pc:sldMk cId="2567680532" sldId="5181"/>
            <ac:spMk id="564" creationId="{8C3E265E-CD33-2501-5FF9-E42416504B23}"/>
          </ac:spMkLst>
        </pc:spChg>
        <pc:spChg chg="mod">
          <ac:chgData name="Boton, Véronique (SPAC/PSPC)" userId="9ecb94de-8111-4b3a-95b0-af63f6324db7" providerId="ADAL" clId="{5B456C22-6E14-43AA-860D-27F9212E67BF}" dt="2023-02-17T18:44:06.465" v="830"/>
          <ac:spMkLst>
            <pc:docMk/>
            <pc:sldMk cId="2567680532" sldId="5181"/>
            <ac:spMk id="566" creationId="{C373D89F-BBFA-8476-A107-234F769D1753}"/>
          </ac:spMkLst>
        </pc:spChg>
        <pc:spChg chg="mod">
          <ac:chgData name="Boton, Véronique (SPAC/PSPC)" userId="9ecb94de-8111-4b3a-95b0-af63f6324db7" providerId="ADAL" clId="{5B456C22-6E14-43AA-860D-27F9212E67BF}" dt="2023-02-17T18:44:06.465" v="830"/>
          <ac:spMkLst>
            <pc:docMk/>
            <pc:sldMk cId="2567680532" sldId="5181"/>
            <ac:spMk id="567" creationId="{9E0FC1FE-587B-6B0A-F52F-323B298B80F6}"/>
          </ac:spMkLst>
        </pc:spChg>
        <pc:spChg chg="mod">
          <ac:chgData name="Boton, Véronique (SPAC/PSPC)" userId="9ecb94de-8111-4b3a-95b0-af63f6324db7" providerId="ADAL" clId="{5B456C22-6E14-43AA-860D-27F9212E67BF}" dt="2023-02-17T18:44:06.465" v="830"/>
          <ac:spMkLst>
            <pc:docMk/>
            <pc:sldMk cId="2567680532" sldId="5181"/>
            <ac:spMk id="568" creationId="{C1EDFBEE-3DEE-62AF-3150-744D800E68D2}"/>
          </ac:spMkLst>
        </pc:spChg>
        <pc:spChg chg="mod">
          <ac:chgData name="Boton, Véronique (SPAC/PSPC)" userId="9ecb94de-8111-4b3a-95b0-af63f6324db7" providerId="ADAL" clId="{5B456C22-6E14-43AA-860D-27F9212E67BF}" dt="2023-02-17T18:44:06.465" v="830"/>
          <ac:spMkLst>
            <pc:docMk/>
            <pc:sldMk cId="2567680532" sldId="5181"/>
            <ac:spMk id="569" creationId="{6675838A-00CC-379E-3FFA-3CD1F3ADD2E6}"/>
          </ac:spMkLst>
        </pc:spChg>
        <pc:spChg chg="mod">
          <ac:chgData name="Boton, Véronique (SPAC/PSPC)" userId="9ecb94de-8111-4b3a-95b0-af63f6324db7" providerId="ADAL" clId="{5B456C22-6E14-43AA-860D-27F9212E67BF}" dt="2023-02-17T18:44:06.465" v="830"/>
          <ac:spMkLst>
            <pc:docMk/>
            <pc:sldMk cId="2567680532" sldId="5181"/>
            <ac:spMk id="570" creationId="{FDCBEB88-5617-7FA9-8845-6C3334EC53DA}"/>
          </ac:spMkLst>
        </pc:spChg>
        <pc:spChg chg="mod">
          <ac:chgData name="Boton, Véronique (SPAC/PSPC)" userId="9ecb94de-8111-4b3a-95b0-af63f6324db7" providerId="ADAL" clId="{5B456C22-6E14-43AA-860D-27F9212E67BF}" dt="2023-02-17T18:44:06.465" v="830"/>
          <ac:spMkLst>
            <pc:docMk/>
            <pc:sldMk cId="2567680532" sldId="5181"/>
            <ac:spMk id="571" creationId="{7894C2FC-6916-7319-7616-741BE5971A17}"/>
          </ac:spMkLst>
        </pc:spChg>
        <pc:spChg chg="mod">
          <ac:chgData name="Boton, Véronique (SPAC/PSPC)" userId="9ecb94de-8111-4b3a-95b0-af63f6324db7" providerId="ADAL" clId="{5B456C22-6E14-43AA-860D-27F9212E67BF}" dt="2023-02-17T18:44:06.465" v="830"/>
          <ac:spMkLst>
            <pc:docMk/>
            <pc:sldMk cId="2567680532" sldId="5181"/>
            <ac:spMk id="572" creationId="{FDEAA7B8-18E1-2DDC-D17B-256EFACD5778}"/>
          </ac:spMkLst>
        </pc:spChg>
        <pc:spChg chg="mod">
          <ac:chgData name="Boton, Véronique (SPAC/PSPC)" userId="9ecb94de-8111-4b3a-95b0-af63f6324db7" providerId="ADAL" clId="{5B456C22-6E14-43AA-860D-27F9212E67BF}" dt="2023-02-17T18:44:06.465" v="830"/>
          <ac:spMkLst>
            <pc:docMk/>
            <pc:sldMk cId="2567680532" sldId="5181"/>
            <ac:spMk id="573" creationId="{17825405-D323-5D6A-735D-6B272142463A}"/>
          </ac:spMkLst>
        </pc:spChg>
        <pc:spChg chg="mod">
          <ac:chgData name="Boton, Véronique (SPAC/PSPC)" userId="9ecb94de-8111-4b3a-95b0-af63f6324db7" providerId="ADAL" clId="{5B456C22-6E14-43AA-860D-27F9212E67BF}" dt="2023-02-17T18:44:06.465" v="830"/>
          <ac:spMkLst>
            <pc:docMk/>
            <pc:sldMk cId="2567680532" sldId="5181"/>
            <ac:spMk id="574" creationId="{2C99226C-093D-3923-FE2A-1FD676C0382B}"/>
          </ac:spMkLst>
        </pc:spChg>
        <pc:spChg chg="mod">
          <ac:chgData name="Boton, Véronique (SPAC/PSPC)" userId="9ecb94de-8111-4b3a-95b0-af63f6324db7" providerId="ADAL" clId="{5B456C22-6E14-43AA-860D-27F9212E67BF}" dt="2023-02-17T18:44:06.465" v="830"/>
          <ac:spMkLst>
            <pc:docMk/>
            <pc:sldMk cId="2567680532" sldId="5181"/>
            <ac:spMk id="575" creationId="{3E59AF8D-38E1-BB4C-91B7-AB4336B99A98}"/>
          </ac:spMkLst>
        </pc:spChg>
        <pc:spChg chg="mod">
          <ac:chgData name="Boton, Véronique (SPAC/PSPC)" userId="9ecb94de-8111-4b3a-95b0-af63f6324db7" providerId="ADAL" clId="{5B456C22-6E14-43AA-860D-27F9212E67BF}" dt="2023-02-17T18:44:06.465" v="830"/>
          <ac:spMkLst>
            <pc:docMk/>
            <pc:sldMk cId="2567680532" sldId="5181"/>
            <ac:spMk id="576" creationId="{32DE6E9A-AA06-490F-1DBF-609847290CB7}"/>
          </ac:spMkLst>
        </pc:spChg>
        <pc:spChg chg="mod">
          <ac:chgData name="Boton, Véronique (SPAC/PSPC)" userId="9ecb94de-8111-4b3a-95b0-af63f6324db7" providerId="ADAL" clId="{5B456C22-6E14-43AA-860D-27F9212E67BF}" dt="2023-02-17T18:44:06.465" v="830"/>
          <ac:spMkLst>
            <pc:docMk/>
            <pc:sldMk cId="2567680532" sldId="5181"/>
            <ac:spMk id="577" creationId="{572A25E4-62DD-3228-F131-869AFCD2A80D}"/>
          </ac:spMkLst>
        </pc:spChg>
        <pc:spChg chg="mod">
          <ac:chgData name="Boton, Véronique (SPAC/PSPC)" userId="9ecb94de-8111-4b3a-95b0-af63f6324db7" providerId="ADAL" clId="{5B456C22-6E14-43AA-860D-27F9212E67BF}" dt="2023-02-17T18:44:06.465" v="830"/>
          <ac:spMkLst>
            <pc:docMk/>
            <pc:sldMk cId="2567680532" sldId="5181"/>
            <ac:spMk id="578" creationId="{E99146E4-91AB-6427-B04D-21593779E7A4}"/>
          </ac:spMkLst>
        </pc:spChg>
        <pc:spChg chg="mod">
          <ac:chgData name="Boton, Véronique (SPAC/PSPC)" userId="9ecb94de-8111-4b3a-95b0-af63f6324db7" providerId="ADAL" clId="{5B456C22-6E14-43AA-860D-27F9212E67BF}" dt="2023-02-17T18:44:06.465" v="830"/>
          <ac:spMkLst>
            <pc:docMk/>
            <pc:sldMk cId="2567680532" sldId="5181"/>
            <ac:spMk id="580" creationId="{0F864261-D6DF-7DE8-CDA0-4D1091775A1A}"/>
          </ac:spMkLst>
        </pc:spChg>
        <pc:spChg chg="mod">
          <ac:chgData name="Boton, Véronique (SPAC/PSPC)" userId="9ecb94de-8111-4b3a-95b0-af63f6324db7" providerId="ADAL" clId="{5B456C22-6E14-43AA-860D-27F9212E67BF}" dt="2023-02-17T18:44:06.465" v="830"/>
          <ac:spMkLst>
            <pc:docMk/>
            <pc:sldMk cId="2567680532" sldId="5181"/>
            <ac:spMk id="581" creationId="{508E2F41-F5BE-A641-CD9E-E1B376BEECB4}"/>
          </ac:spMkLst>
        </pc:spChg>
        <pc:spChg chg="mod">
          <ac:chgData name="Boton, Véronique (SPAC/PSPC)" userId="9ecb94de-8111-4b3a-95b0-af63f6324db7" providerId="ADAL" clId="{5B456C22-6E14-43AA-860D-27F9212E67BF}" dt="2023-02-17T18:44:06.465" v="830"/>
          <ac:spMkLst>
            <pc:docMk/>
            <pc:sldMk cId="2567680532" sldId="5181"/>
            <ac:spMk id="582" creationId="{C553A668-A01D-3E6E-A58D-36D167515371}"/>
          </ac:spMkLst>
        </pc:spChg>
        <pc:spChg chg="mod">
          <ac:chgData name="Boton, Véronique (SPAC/PSPC)" userId="9ecb94de-8111-4b3a-95b0-af63f6324db7" providerId="ADAL" clId="{5B456C22-6E14-43AA-860D-27F9212E67BF}" dt="2023-02-17T18:44:06.465" v="830"/>
          <ac:spMkLst>
            <pc:docMk/>
            <pc:sldMk cId="2567680532" sldId="5181"/>
            <ac:spMk id="583" creationId="{DFA7B8FD-83FA-601D-2AE7-D59C97EBD236}"/>
          </ac:spMkLst>
        </pc:spChg>
        <pc:spChg chg="mod">
          <ac:chgData name="Boton, Véronique (SPAC/PSPC)" userId="9ecb94de-8111-4b3a-95b0-af63f6324db7" providerId="ADAL" clId="{5B456C22-6E14-43AA-860D-27F9212E67BF}" dt="2023-02-17T18:44:06.465" v="830"/>
          <ac:spMkLst>
            <pc:docMk/>
            <pc:sldMk cId="2567680532" sldId="5181"/>
            <ac:spMk id="584" creationId="{226ED8D1-7F2E-971F-04AB-254DA5BF556A}"/>
          </ac:spMkLst>
        </pc:spChg>
        <pc:spChg chg="mod">
          <ac:chgData name="Boton, Véronique (SPAC/PSPC)" userId="9ecb94de-8111-4b3a-95b0-af63f6324db7" providerId="ADAL" clId="{5B456C22-6E14-43AA-860D-27F9212E67BF}" dt="2023-02-17T18:44:06.465" v="830"/>
          <ac:spMkLst>
            <pc:docMk/>
            <pc:sldMk cId="2567680532" sldId="5181"/>
            <ac:spMk id="625" creationId="{E8CA6409-F4F6-1688-DFB7-19AE4A0CBA71}"/>
          </ac:spMkLst>
        </pc:spChg>
        <pc:spChg chg="mod">
          <ac:chgData name="Boton, Véronique (SPAC/PSPC)" userId="9ecb94de-8111-4b3a-95b0-af63f6324db7" providerId="ADAL" clId="{5B456C22-6E14-43AA-860D-27F9212E67BF}" dt="2023-02-17T18:44:06.465" v="830"/>
          <ac:spMkLst>
            <pc:docMk/>
            <pc:sldMk cId="2567680532" sldId="5181"/>
            <ac:spMk id="626" creationId="{05479533-002D-341D-004E-82A175D70509}"/>
          </ac:spMkLst>
        </pc:spChg>
        <pc:spChg chg="mod">
          <ac:chgData name="Boton, Véronique (SPAC/PSPC)" userId="9ecb94de-8111-4b3a-95b0-af63f6324db7" providerId="ADAL" clId="{5B456C22-6E14-43AA-860D-27F9212E67BF}" dt="2023-02-17T18:44:06.465" v="830"/>
          <ac:spMkLst>
            <pc:docMk/>
            <pc:sldMk cId="2567680532" sldId="5181"/>
            <ac:spMk id="627" creationId="{B0598534-1DF2-B7B3-1EAC-CD165F4EE5F8}"/>
          </ac:spMkLst>
        </pc:spChg>
        <pc:spChg chg="mod">
          <ac:chgData name="Boton, Véronique (SPAC/PSPC)" userId="9ecb94de-8111-4b3a-95b0-af63f6324db7" providerId="ADAL" clId="{5B456C22-6E14-43AA-860D-27F9212E67BF}" dt="2023-02-17T18:44:06.465" v="830"/>
          <ac:spMkLst>
            <pc:docMk/>
            <pc:sldMk cId="2567680532" sldId="5181"/>
            <ac:spMk id="628" creationId="{F0FAC9BC-84B1-6546-7373-957EFDCD6787}"/>
          </ac:spMkLst>
        </pc:spChg>
        <pc:spChg chg="del">
          <ac:chgData name="Boton, Véronique (SPAC/PSPC)" userId="9ecb94de-8111-4b3a-95b0-af63f6324db7" providerId="ADAL" clId="{5B456C22-6E14-43AA-860D-27F9212E67BF}" dt="2023-02-17T18:44:05.642" v="829" actId="478"/>
          <ac:spMkLst>
            <pc:docMk/>
            <pc:sldMk cId="2567680532" sldId="5181"/>
            <ac:spMk id="629" creationId="{FBD87CF8-7202-2C44-29F2-EF1109298CBC}"/>
          </ac:spMkLst>
        </pc:spChg>
        <pc:spChg chg="mod">
          <ac:chgData name="Boton, Véronique (SPAC/PSPC)" userId="9ecb94de-8111-4b3a-95b0-af63f6324db7" providerId="ADAL" clId="{5B456C22-6E14-43AA-860D-27F9212E67BF}" dt="2023-02-17T18:44:06.465" v="830"/>
          <ac:spMkLst>
            <pc:docMk/>
            <pc:sldMk cId="2567680532" sldId="5181"/>
            <ac:spMk id="630" creationId="{04CC11DB-C36E-A5CD-D537-9FE7E5474324}"/>
          </ac:spMkLst>
        </pc:spChg>
        <pc:spChg chg="mod">
          <ac:chgData name="Boton, Véronique (SPAC/PSPC)" userId="9ecb94de-8111-4b3a-95b0-af63f6324db7" providerId="ADAL" clId="{5B456C22-6E14-43AA-860D-27F9212E67BF}" dt="2023-02-17T18:44:06.465" v="830"/>
          <ac:spMkLst>
            <pc:docMk/>
            <pc:sldMk cId="2567680532" sldId="5181"/>
            <ac:spMk id="631" creationId="{0B482B65-B9F6-1969-354E-8C9E60585AE4}"/>
          </ac:spMkLst>
        </pc:spChg>
        <pc:spChg chg="mod">
          <ac:chgData name="Boton, Véronique (SPAC/PSPC)" userId="9ecb94de-8111-4b3a-95b0-af63f6324db7" providerId="ADAL" clId="{5B456C22-6E14-43AA-860D-27F9212E67BF}" dt="2023-02-17T18:44:06.465" v="830"/>
          <ac:spMkLst>
            <pc:docMk/>
            <pc:sldMk cId="2567680532" sldId="5181"/>
            <ac:spMk id="632" creationId="{5636A45F-51A6-F004-2E78-C2984D92731F}"/>
          </ac:spMkLst>
        </pc:spChg>
        <pc:spChg chg="mod">
          <ac:chgData name="Boton, Véronique (SPAC/PSPC)" userId="9ecb94de-8111-4b3a-95b0-af63f6324db7" providerId="ADAL" clId="{5B456C22-6E14-43AA-860D-27F9212E67BF}" dt="2023-02-17T18:44:06.465" v="830"/>
          <ac:spMkLst>
            <pc:docMk/>
            <pc:sldMk cId="2567680532" sldId="5181"/>
            <ac:spMk id="633" creationId="{5567A982-EC89-CC69-E9E5-2CEDC4475254}"/>
          </ac:spMkLst>
        </pc:spChg>
        <pc:spChg chg="mod">
          <ac:chgData name="Boton, Véronique (SPAC/PSPC)" userId="9ecb94de-8111-4b3a-95b0-af63f6324db7" providerId="ADAL" clId="{5B456C22-6E14-43AA-860D-27F9212E67BF}" dt="2023-02-17T18:44:06.465" v="830"/>
          <ac:spMkLst>
            <pc:docMk/>
            <pc:sldMk cId="2567680532" sldId="5181"/>
            <ac:spMk id="634" creationId="{E4366390-739B-78D2-BE2D-A666E122C2D2}"/>
          </ac:spMkLst>
        </pc:spChg>
        <pc:spChg chg="mod">
          <ac:chgData name="Boton, Véronique (SPAC/PSPC)" userId="9ecb94de-8111-4b3a-95b0-af63f6324db7" providerId="ADAL" clId="{5B456C22-6E14-43AA-860D-27F9212E67BF}" dt="2023-02-17T18:44:06.465" v="830"/>
          <ac:spMkLst>
            <pc:docMk/>
            <pc:sldMk cId="2567680532" sldId="5181"/>
            <ac:spMk id="635" creationId="{1161C3E7-DFEF-61B5-0DBD-3C543F984919}"/>
          </ac:spMkLst>
        </pc:spChg>
        <pc:spChg chg="mod">
          <ac:chgData name="Boton, Véronique (SPAC/PSPC)" userId="9ecb94de-8111-4b3a-95b0-af63f6324db7" providerId="ADAL" clId="{5B456C22-6E14-43AA-860D-27F9212E67BF}" dt="2023-02-17T18:44:06.465" v="830"/>
          <ac:spMkLst>
            <pc:docMk/>
            <pc:sldMk cId="2567680532" sldId="5181"/>
            <ac:spMk id="636" creationId="{0C92DC54-6A3D-8EFA-B33A-57C754BAF28E}"/>
          </ac:spMkLst>
        </pc:spChg>
        <pc:spChg chg="mod">
          <ac:chgData name="Boton, Véronique (SPAC/PSPC)" userId="9ecb94de-8111-4b3a-95b0-af63f6324db7" providerId="ADAL" clId="{5B456C22-6E14-43AA-860D-27F9212E67BF}" dt="2023-02-17T18:44:06.465" v="830"/>
          <ac:spMkLst>
            <pc:docMk/>
            <pc:sldMk cId="2567680532" sldId="5181"/>
            <ac:spMk id="637" creationId="{11221C2D-B694-C7E9-86EC-70B00EA714E0}"/>
          </ac:spMkLst>
        </pc:spChg>
        <pc:spChg chg="mod">
          <ac:chgData name="Boton, Véronique (SPAC/PSPC)" userId="9ecb94de-8111-4b3a-95b0-af63f6324db7" providerId="ADAL" clId="{5B456C22-6E14-43AA-860D-27F9212E67BF}" dt="2023-02-17T18:44:06.465" v="830"/>
          <ac:spMkLst>
            <pc:docMk/>
            <pc:sldMk cId="2567680532" sldId="5181"/>
            <ac:spMk id="638" creationId="{24470903-212A-3020-7F4B-3F246F9D776A}"/>
          </ac:spMkLst>
        </pc:spChg>
        <pc:spChg chg="mod">
          <ac:chgData name="Boton, Véronique (SPAC/PSPC)" userId="9ecb94de-8111-4b3a-95b0-af63f6324db7" providerId="ADAL" clId="{5B456C22-6E14-43AA-860D-27F9212E67BF}" dt="2023-02-17T18:44:06.465" v="830"/>
          <ac:spMkLst>
            <pc:docMk/>
            <pc:sldMk cId="2567680532" sldId="5181"/>
            <ac:spMk id="639" creationId="{93A6A43F-31C0-3523-2676-B246EE6BB1DC}"/>
          </ac:spMkLst>
        </pc:spChg>
        <pc:spChg chg="mod">
          <ac:chgData name="Boton, Véronique (SPAC/PSPC)" userId="9ecb94de-8111-4b3a-95b0-af63f6324db7" providerId="ADAL" clId="{5B456C22-6E14-43AA-860D-27F9212E67BF}" dt="2023-02-17T18:44:06.465" v="830"/>
          <ac:spMkLst>
            <pc:docMk/>
            <pc:sldMk cId="2567680532" sldId="5181"/>
            <ac:spMk id="640" creationId="{6D1E4AB0-2FDC-1015-0BF4-37BCDC68BC42}"/>
          </ac:spMkLst>
        </pc:spChg>
        <pc:spChg chg="mod">
          <ac:chgData name="Boton, Véronique (SPAC/PSPC)" userId="9ecb94de-8111-4b3a-95b0-af63f6324db7" providerId="ADAL" clId="{5B456C22-6E14-43AA-860D-27F9212E67BF}" dt="2023-02-17T18:44:06.465" v="830"/>
          <ac:spMkLst>
            <pc:docMk/>
            <pc:sldMk cId="2567680532" sldId="5181"/>
            <ac:spMk id="641" creationId="{2083372B-D72B-F9AB-65DF-E00AE8B6CB4F}"/>
          </ac:spMkLst>
        </pc:spChg>
        <pc:spChg chg="mod">
          <ac:chgData name="Boton, Véronique (SPAC/PSPC)" userId="9ecb94de-8111-4b3a-95b0-af63f6324db7" providerId="ADAL" clId="{5B456C22-6E14-43AA-860D-27F9212E67BF}" dt="2023-02-17T18:44:06.465" v="830"/>
          <ac:spMkLst>
            <pc:docMk/>
            <pc:sldMk cId="2567680532" sldId="5181"/>
            <ac:spMk id="642" creationId="{F22213BC-3FC0-5BB8-D77A-35661D41D587}"/>
          </ac:spMkLst>
        </pc:spChg>
        <pc:spChg chg="mod">
          <ac:chgData name="Boton, Véronique (SPAC/PSPC)" userId="9ecb94de-8111-4b3a-95b0-af63f6324db7" providerId="ADAL" clId="{5B456C22-6E14-43AA-860D-27F9212E67BF}" dt="2023-02-17T18:44:06.465" v="830"/>
          <ac:spMkLst>
            <pc:docMk/>
            <pc:sldMk cId="2567680532" sldId="5181"/>
            <ac:spMk id="643" creationId="{AF87FF5E-7C67-E7DA-0D36-4E91535120B4}"/>
          </ac:spMkLst>
        </pc:spChg>
        <pc:spChg chg="mod">
          <ac:chgData name="Boton, Véronique (SPAC/PSPC)" userId="9ecb94de-8111-4b3a-95b0-af63f6324db7" providerId="ADAL" clId="{5B456C22-6E14-43AA-860D-27F9212E67BF}" dt="2023-02-17T18:44:06.465" v="830"/>
          <ac:spMkLst>
            <pc:docMk/>
            <pc:sldMk cId="2567680532" sldId="5181"/>
            <ac:spMk id="644" creationId="{AF7EFF54-67D8-BB87-74AD-B9FD04F3B35C}"/>
          </ac:spMkLst>
        </pc:spChg>
        <pc:spChg chg="mod">
          <ac:chgData name="Boton, Véronique (SPAC/PSPC)" userId="9ecb94de-8111-4b3a-95b0-af63f6324db7" providerId="ADAL" clId="{5B456C22-6E14-43AA-860D-27F9212E67BF}" dt="2023-02-17T18:44:06.465" v="830"/>
          <ac:spMkLst>
            <pc:docMk/>
            <pc:sldMk cId="2567680532" sldId="5181"/>
            <ac:spMk id="645" creationId="{CEA15225-0A93-1DD2-7083-CF4610099DA0}"/>
          </ac:spMkLst>
        </pc:spChg>
        <pc:spChg chg="mod">
          <ac:chgData name="Boton, Véronique (SPAC/PSPC)" userId="9ecb94de-8111-4b3a-95b0-af63f6324db7" providerId="ADAL" clId="{5B456C22-6E14-43AA-860D-27F9212E67BF}" dt="2023-02-17T18:44:06.465" v="830"/>
          <ac:spMkLst>
            <pc:docMk/>
            <pc:sldMk cId="2567680532" sldId="5181"/>
            <ac:spMk id="646" creationId="{54D69E36-96BB-827D-41C2-5D9F22788FBD}"/>
          </ac:spMkLst>
        </pc:spChg>
        <pc:spChg chg="mod">
          <ac:chgData name="Boton, Véronique (SPAC/PSPC)" userId="9ecb94de-8111-4b3a-95b0-af63f6324db7" providerId="ADAL" clId="{5B456C22-6E14-43AA-860D-27F9212E67BF}" dt="2023-02-17T18:44:06.465" v="830"/>
          <ac:spMkLst>
            <pc:docMk/>
            <pc:sldMk cId="2567680532" sldId="5181"/>
            <ac:spMk id="647" creationId="{A99135CC-508E-B807-CA07-59F09D7D6DCF}"/>
          </ac:spMkLst>
        </pc:spChg>
        <pc:spChg chg="mod">
          <ac:chgData name="Boton, Véronique (SPAC/PSPC)" userId="9ecb94de-8111-4b3a-95b0-af63f6324db7" providerId="ADAL" clId="{5B456C22-6E14-43AA-860D-27F9212E67BF}" dt="2023-02-17T18:44:06.465" v="830"/>
          <ac:spMkLst>
            <pc:docMk/>
            <pc:sldMk cId="2567680532" sldId="5181"/>
            <ac:spMk id="648" creationId="{6E30946A-928A-A769-B9A0-7D0C93A84593}"/>
          </ac:spMkLst>
        </pc:spChg>
        <pc:spChg chg="mod">
          <ac:chgData name="Boton, Véronique (SPAC/PSPC)" userId="9ecb94de-8111-4b3a-95b0-af63f6324db7" providerId="ADAL" clId="{5B456C22-6E14-43AA-860D-27F9212E67BF}" dt="2023-02-17T18:44:06.465" v="830"/>
          <ac:spMkLst>
            <pc:docMk/>
            <pc:sldMk cId="2567680532" sldId="5181"/>
            <ac:spMk id="649" creationId="{E3D47DBC-A853-ACA1-17BB-6CCC4FA7EAF6}"/>
          </ac:spMkLst>
        </pc:spChg>
        <pc:spChg chg="mod">
          <ac:chgData name="Boton, Véronique (SPAC/PSPC)" userId="9ecb94de-8111-4b3a-95b0-af63f6324db7" providerId="ADAL" clId="{5B456C22-6E14-43AA-860D-27F9212E67BF}" dt="2023-02-17T18:44:06.465" v="830"/>
          <ac:spMkLst>
            <pc:docMk/>
            <pc:sldMk cId="2567680532" sldId="5181"/>
            <ac:spMk id="650" creationId="{B87756C8-0807-6062-2C15-86FA2D3E714C}"/>
          </ac:spMkLst>
        </pc:spChg>
        <pc:spChg chg="mod">
          <ac:chgData name="Boton, Véronique (SPAC/PSPC)" userId="9ecb94de-8111-4b3a-95b0-af63f6324db7" providerId="ADAL" clId="{5B456C22-6E14-43AA-860D-27F9212E67BF}" dt="2023-02-17T18:44:06.465" v="830"/>
          <ac:spMkLst>
            <pc:docMk/>
            <pc:sldMk cId="2567680532" sldId="5181"/>
            <ac:spMk id="651" creationId="{FA64DF96-22F9-02FE-22F9-700E36118D4B}"/>
          </ac:spMkLst>
        </pc:spChg>
        <pc:spChg chg="mod">
          <ac:chgData name="Boton, Véronique (SPAC/PSPC)" userId="9ecb94de-8111-4b3a-95b0-af63f6324db7" providerId="ADAL" clId="{5B456C22-6E14-43AA-860D-27F9212E67BF}" dt="2023-02-17T18:44:06.465" v="830"/>
          <ac:spMkLst>
            <pc:docMk/>
            <pc:sldMk cId="2567680532" sldId="5181"/>
            <ac:spMk id="652" creationId="{E33AFB0F-72B9-E764-40F7-13F978DFC9CB}"/>
          </ac:spMkLst>
        </pc:spChg>
        <pc:spChg chg="mod">
          <ac:chgData name="Boton, Véronique (SPAC/PSPC)" userId="9ecb94de-8111-4b3a-95b0-af63f6324db7" providerId="ADAL" clId="{5B456C22-6E14-43AA-860D-27F9212E67BF}" dt="2023-02-17T18:44:06.465" v="830"/>
          <ac:spMkLst>
            <pc:docMk/>
            <pc:sldMk cId="2567680532" sldId="5181"/>
            <ac:spMk id="653" creationId="{521D0632-4DA7-F64F-7E62-0D4ED2688D1F}"/>
          </ac:spMkLst>
        </pc:spChg>
        <pc:spChg chg="mod">
          <ac:chgData name="Boton, Véronique (SPAC/PSPC)" userId="9ecb94de-8111-4b3a-95b0-af63f6324db7" providerId="ADAL" clId="{5B456C22-6E14-43AA-860D-27F9212E67BF}" dt="2023-02-17T18:44:06.465" v="830"/>
          <ac:spMkLst>
            <pc:docMk/>
            <pc:sldMk cId="2567680532" sldId="5181"/>
            <ac:spMk id="654" creationId="{62CD5E83-8615-931E-1CCF-858BA46D938B}"/>
          </ac:spMkLst>
        </pc:spChg>
        <pc:spChg chg="mod">
          <ac:chgData name="Boton, Véronique (SPAC/PSPC)" userId="9ecb94de-8111-4b3a-95b0-af63f6324db7" providerId="ADAL" clId="{5B456C22-6E14-43AA-860D-27F9212E67BF}" dt="2023-02-17T18:44:06.465" v="830"/>
          <ac:spMkLst>
            <pc:docMk/>
            <pc:sldMk cId="2567680532" sldId="5181"/>
            <ac:spMk id="655" creationId="{47F74D66-ED28-F509-D27A-21DBA9AA2920}"/>
          </ac:spMkLst>
        </pc:spChg>
        <pc:spChg chg="mod">
          <ac:chgData name="Boton, Véronique (SPAC/PSPC)" userId="9ecb94de-8111-4b3a-95b0-af63f6324db7" providerId="ADAL" clId="{5B456C22-6E14-43AA-860D-27F9212E67BF}" dt="2023-02-17T18:44:06.465" v="830"/>
          <ac:spMkLst>
            <pc:docMk/>
            <pc:sldMk cId="2567680532" sldId="5181"/>
            <ac:spMk id="656" creationId="{81916538-ACC4-F5FD-411B-0CE2D2F7E76A}"/>
          </ac:spMkLst>
        </pc:spChg>
        <pc:spChg chg="mod">
          <ac:chgData name="Boton, Véronique (SPAC/PSPC)" userId="9ecb94de-8111-4b3a-95b0-af63f6324db7" providerId="ADAL" clId="{5B456C22-6E14-43AA-860D-27F9212E67BF}" dt="2023-02-17T18:44:06.465" v="830"/>
          <ac:spMkLst>
            <pc:docMk/>
            <pc:sldMk cId="2567680532" sldId="5181"/>
            <ac:spMk id="657" creationId="{A93A20F1-721D-84AB-393C-62769BB71B1B}"/>
          </ac:spMkLst>
        </pc:spChg>
        <pc:grpChg chg="add mod">
          <ac:chgData name="Boton, Véronique (SPAC/PSPC)" userId="9ecb94de-8111-4b3a-95b0-af63f6324db7" providerId="ADAL" clId="{5B456C22-6E14-43AA-860D-27F9212E67BF}" dt="2023-02-17T18:44:06.465" v="830"/>
          <ac:grpSpMkLst>
            <pc:docMk/>
            <pc:sldMk cId="2567680532" sldId="5181"/>
            <ac:grpSpMk id="3" creationId="{2F762431-D34A-9150-A2D6-F3834A9272BC}"/>
          </ac:grpSpMkLst>
        </pc:grpChg>
        <pc:grpChg chg="add mod">
          <ac:chgData name="Boton, Véronique (SPAC/PSPC)" userId="9ecb94de-8111-4b3a-95b0-af63f6324db7" providerId="ADAL" clId="{5B456C22-6E14-43AA-860D-27F9212E67BF}" dt="2023-02-17T18:44:06.465" v="830"/>
          <ac:grpSpMkLst>
            <pc:docMk/>
            <pc:sldMk cId="2567680532" sldId="5181"/>
            <ac:grpSpMk id="14" creationId="{1BC69F26-1F60-4D99-4948-7393CAD8BE09}"/>
          </ac:grpSpMkLst>
        </pc:grpChg>
        <pc:grpChg chg="mod">
          <ac:chgData name="Boton, Véronique (SPAC/PSPC)" userId="9ecb94de-8111-4b3a-95b0-af63f6324db7" providerId="ADAL" clId="{5B456C22-6E14-43AA-860D-27F9212E67BF}" dt="2023-02-17T18:44:06.465" v="830"/>
          <ac:grpSpMkLst>
            <pc:docMk/>
            <pc:sldMk cId="2567680532" sldId="5181"/>
            <ac:grpSpMk id="15" creationId="{01DB242D-3D86-E3B4-83AE-1F2EF55A5D8D}"/>
          </ac:grpSpMkLst>
        </pc:grpChg>
        <pc:grpChg chg="mod">
          <ac:chgData name="Boton, Véronique (SPAC/PSPC)" userId="9ecb94de-8111-4b3a-95b0-af63f6324db7" providerId="ADAL" clId="{5B456C22-6E14-43AA-860D-27F9212E67BF}" dt="2023-02-17T18:44:06.465" v="830"/>
          <ac:grpSpMkLst>
            <pc:docMk/>
            <pc:sldMk cId="2567680532" sldId="5181"/>
            <ac:grpSpMk id="24" creationId="{CBA81DF5-A503-8AE5-432D-01CA24264CB7}"/>
          </ac:grpSpMkLst>
        </pc:grpChg>
        <pc:grpChg chg="mod">
          <ac:chgData name="Boton, Véronique (SPAC/PSPC)" userId="9ecb94de-8111-4b3a-95b0-af63f6324db7" providerId="ADAL" clId="{5B456C22-6E14-43AA-860D-27F9212E67BF}" dt="2023-02-17T18:44:06.465" v="830"/>
          <ac:grpSpMkLst>
            <pc:docMk/>
            <pc:sldMk cId="2567680532" sldId="5181"/>
            <ac:grpSpMk id="26" creationId="{916A5C6E-80AC-0F1A-4DA5-AD38191674E8}"/>
          </ac:grpSpMkLst>
        </pc:grpChg>
        <pc:grpChg chg="add mod">
          <ac:chgData name="Boton, Véronique (SPAC/PSPC)" userId="9ecb94de-8111-4b3a-95b0-af63f6324db7" providerId="ADAL" clId="{5B456C22-6E14-43AA-860D-27F9212E67BF}" dt="2023-02-17T18:44:06.465" v="830"/>
          <ac:grpSpMkLst>
            <pc:docMk/>
            <pc:sldMk cId="2567680532" sldId="5181"/>
            <ac:grpSpMk id="545" creationId="{CE6A355C-3178-B026-029D-4E6AEF2A59B1}"/>
          </ac:grpSpMkLst>
        </pc:grpChg>
        <pc:grpChg chg="mod">
          <ac:chgData name="Boton, Véronique (SPAC/PSPC)" userId="9ecb94de-8111-4b3a-95b0-af63f6324db7" providerId="ADAL" clId="{5B456C22-6E14-43AA-860D-27F9212E67BF}" dt="2023-02-17T18:44:06.465" v="830"/>
          <ac:grpSpMkLst>
            <pc:docMk/>
            <pc:sldMk cId="2567680532" sldId="5181"/>
            <ac:grpSpMk id="546" creationId="{7257D755-D1CB-A971-C12E-0BC75D68CBA9}"/>
          </ac:grpSpMkLst>
        </pc:grpChg>
        <pc:grpChg chg="mod">
          <ac:chgData name="Boton, Véronique (SPAC/PSPC)" userId="9ecb94de-8111-4b3a-95b0-af63f6324db7" providerId="ADAL" clId="{5B456C22-6E14-43AA-860D-27F9212E67BF}" dt="2023-02-17T18:44:06.465" v="830"/>
          <ac:grpSpMkLst>
            <pc:docMk/>
            <pc:sldMk cId="2567680532" sldId="5181"/>
            <ac:grpSpMk id="548" creationId="{229F9FF4-2309-BF6C-E800-939F96EC5225}"/>
          </ac:grpSpMkLst>
        </pc:grpChg>
        <pc:grpChg chg="mod">
          <ac:chgData name="Boton, Véronique (SPAC/PSPC)" userId="9ecb94de-8111-4b3a-95b0-af63f6324db7" providerId="ADAL" clId="{5B456C22-6E14-43AA-860D-27F9212E67BF}" dt="2023-02-17T18:44:06.465" v="830"/>
          <ac:grpSpMkLst>
            <pc:docMk/>
            <pc:sldMk cId="2567680532" sldId="5181"/>
            <ac:grpSpMk id="555" creationId="{B4CD3210-D07B-439D-CECE-F694479F8EF3}"/>
          </ac:grpSpMkLst>
        </pc:grpChg>
        <pc:grpChg chg="mod">
          <ac:chgData name="Boton, Véronique (SPAC/PSPC)" userId="9ecb94de-8111-4b3a-95b0-af63f6324db7" providerId="ADAL" clId="{5B456C22-6E14-43AA-860D-27F9212E67BF}" dt="2023-02-17T18:44:06.465" v="830"/>
          <ac:grpSpMkLst>
            <pc:docMk/>
            <pc:sldMk cId="2567680532" sldId="5181"/>
            <ac:grpSpMk id="556" creationId="{3F5F871E-274C-DBF0-AC84-AE36F1D0EFD4}"/>
          </ac:grpSpMkLst>
        </pc:grpChg>
        <pc:grpChg chg="del">
          <ac:chgData name="Boton, Véronique (SPAC/PSPC)" userId="9ecb94de-8111-4b3a-95b0-af63f6324db7" providerId="ADAL" clId="{5B456C22-6E14-43AA-860D-27F9212E67BF}" dt="2023-02-17T18:44:05.642" v="829" actId="478"/>
          <ac:grpSpMkLst>
            <pc:docMk/>
            <pc:sldMk cId="2567680532" sldId="5181"/>
            <ac:grpSpMk id="579" creationId="{DBB6B397-1B7F-0EE2-F3D2-2403B9790260}"/>
          </ac:grpSpMkLst>
        </pc:grpChg>
        <pc:picChg chg="mod">
          <ac:chgData name="Boton, Véronique (SPAC/PSPC)" userId="9ecb94de-8111-4b3a-95b0-af63f6324db7" providerId="ADAL" clId="{5B456C22-6E14-43AA-860D-27F9212E67BF}" dt="2023-02-17T18:44:06.465" v="830"/>
          <ac:picMkLst>
            <pc:docMk/>
            <pc:sldMk cId="2567680532" sldId="5181"/>
            <ac:picMk id="5" creationId="{30E2A711-81A6-A122-483C-9DE7ECD059BB}"/>
          </ac:picMkLst>
        </pc:picChg>
        <pc:picChg chg="mod">
          <ac:chgData name="Boton, Véronique (SPAC/PSPC)" userId="9ecb94de-8111-4b3a-95b0-af63f6324db7" providerId="ADAL" clId="{5B456C22-6E14-43AA-860D-27F9212E67BF}" dt="2023-02-17T18:44:06.465" v="830"/>
          <ac:picMkLst>
            <pc:docMk/>
            <pc:sldMk cId="2567680532" sldId="5181"/>
            <ac:picMk id="8" creationId="{2F43810D-7C0C-7C27-E514-7CDC91C3858A}"/>
          </ac:picMkLst>
        </pc:picChg>
        <pc:picChg chg="mod">
          <ac:chgData name="Boton, Véronique (SPAC/PSPC)" userId="9ecb94de-8111-4b3a-95b0-af63f6324db7" providerId="ADAL" clId="{5B456C22-6E14-43AA-860D-27F9212E67BF}" dt="2023-02-17T18:44:06.465" v="830"/>
          <ac:picMkLst>
            <pc:docMk/>
            <pc:sldMk cId="2567680532" sldId="5181"/>
            <ac:picMk id="9" creationId="{6C00DC41-FA73-F1FC-D8A1-3F32446A8234}"/>
          </ac:picMkLst>
        </pc:picChg>
        <pc:picChg chg="mod">
          <ac:chgData name="Boton, Véronique (SPAC/PSPC)" userId="9ecb94de-8111-4b3a-95b0-af63f6324db7" providerId="ADAL" clId="{5B456C22-6E14-43AA-860D-27F9212E67BF}" dt="2023-02-17T18:44:06.465" v="830"/>
          <ac:picMkLst>
            <pc:docMk/>
            <pc:sldMk cId="2567680532" sldId="5181"/>
            <ac:picMk id="10" creationId="{FE047185-B277-C750-3F6D-417A5D7456C0}"/>
          </ac:picMkLst>
        </pc:picChg>
        <pc:picChg chg="mod">
          <ac:chgData name="Boton, Véronique (SPAC/PSPC)" userId="9ecb94de-8111-4b3a-95b0-af63f6324db7" providerId="ADAL" clId="{5B456C22-6E14-43AA-860D-27F9212E67BF}" dt="2023-02-17T18:44:06.465" v="830"/>
          <ac:picMkLst>
            <pc:docMk/>
            <pc:sldMk cId="2567680532" sldId="5181"/>
            <ac:picMk id="11" creationId="{53786D68-66AC-8A95-B1C8-72524EC7B14D}"/>
          </ac:picMkLst>
        </pc:picChg>
        <pc:picChg chg="mod">
          <ac:chgData name="Boton, Véronique (SPAC/PSPC)" userId="9ecb94de-8111-4b3a-95b0-af63f6324db7" providerId="ADAL" clId="{5B456C22-6E14-43AA-860D-27F9212E67BF}" dt="2023-02-17T18:44:06.465" v="830"/>
          <ac:picMkLst>
            <pc:docMk/>
            <pc:sldMk cId="2567680532" sldId="5181"/>
            <ac:picMk id="12" creationId="{B953EA2B-2000-D3BE-6275-18F1DF098299}"/>
          </ac:picMkLst>
        </pc:picChg>
        <pc:picChg chg="del">
          <ac:chgData name="Boton, Véronique (SPAC/PSPC)" userId="9ecb94de-8111-4b3a-95b0-af63f6324db7" providerId="ADAL" clId="{5B456C22-6E14-43AA-860D-27F9212E67BF}" dt="2023-02-17T18:44:05.642" v="829" actId="478"/>
          <ac:picMkLst>
            <pc:docMk/>
            <pc:sldMk cId="2567680532" sldId="5181"/>
            <ac:picMk id="20" creationId="{FAC7C843-4965-669F-4C02-E6B7D3B3A21F}"/>
          </ac:picMkLst>
        </pc:picChg>
        <pc:picChg chg="del">
          <ac:chgData name="Boton, Véronique (SPAC/PSPC)" userId="9ecb94de-8111-4b3a-95b0-af63f6324db7" providerId="ADAL" clId="{5B456C22-6E14-43AA-860D-27F9212E67BF}" dt="2023-02-17T18:44:05.642" v="829" actId="478"/>
          <ac:picMkLst>
            <pc:docMk/>
            <pc:sldMk cId="2567680532" sldId="5181"/>
            <ac:picMk id="25" creationId="{285A5090-189E-5692-A298-BE19462F77E7}"/>
          </ac:picMkLst>
        </pc:picChg>
        <pc:picChg chg="del">
          <ac:chgData name="Boton, Véronique (SPAC/PSPC)" userId="9ecb94de-8111-4b3a-95b0-af63f6324db7" providerId="ADAL" clId="{5B456C22-6E14-43AA-860D-27F9212E67BF}" dt="2023-02-17T18:44:05.642" v="829" actId="478"/>
          <ac:picMkLst>
            <pc:docMk/>
            <pc:sldMk cId="2567680532" sldId="5181"/>
            <ac:picMk id="560" creationId="{9DE70561-0C66-B95F-A864-DA84815EF97F}"/>
          </ac:picMkLst>
        </pc:picChg>
        <pc:picChg chg="del">
          <ac:chgData name="Boton, Véronique (SPAC/PSPC)" userId="9ecb94de-8111-4b3a-95b0-af63f6324db7" providerId="ADAL" clId="{5B456C22-6E14-43AA-860D-27F9212E67BF}" dt="2023-02-17T18:44:05.642" v="829" actId="478"/>
          <ac:picMkLst>
            <pc:docMk/>
            <pc:sldMk cId="2567680532" sldId="5181"/>
            <ac:picMk id="565" creationId="{1CF7B22F-9F0D-7E23-9791-8B5018D3DB5F}"/>
          </ac:picMkLst>
        </pc:picChg>
      </pc:sldChg>
      <pc:sldChg chg="modSp mod">
        <pc:chgData name="Boton, Véronique (SPAC/PSPC)" userId="9ecb94de-8111-4b3a-95b0-af63f6324db7" providerId="ADAL" clId="{5B456C22-6E14-43AA-860D-27F9212E67BF}" dt="2023-02-17T18:36:52.415" v="764" actId="20577"/>
        <pc:sldMkLst>
          <pc:docMk/>
          <pc:sldMk cId="1374355821" sldId="5184"/>
        </pc:sldMkLst>
        <pc:spChg chg="mod">
          <ac:chgData name="Boton, Véronique (SPAC/PSPC)" userId="9ecb94de-8111-4b3a-95b0-af63f6324db7" providerId="ADAL" clId="{5B456C22-6E14-43AA-860D-27F9212E67BF}" dt="2023-02-17T18:36:52.415" v="764" actId="20577"/>
          <ac:spMkLst>
            <pc:docMk/>
            <pc:sldMk cId="1374355821" sldId="5184"/>
            <ac:spMk id="5" creationId="{8450640E-C55C-5665-D2A3-49AF6FCFF2FC}"/>
          </ac:spMkLst>
        </pc:spChg>
      </pc:sldChg>
      <pc:sldChg chg="modSp mod">
        <pc:chgData name="Boton, Véronique (SPAC/PSPC)" userId="9ecb94de-8111-4b3a-95b0-af63f6324db7" providerId="ADAL" clId="{5B456C22-6E14-43AA-860D-27F9212E67BF}" dt="2023-02-17T18:47:17.924" v="970" actId="20577"/>
        <pc:sldMkLst>
          <pc:docMk/>
          <pc:sldMk cId="1430088768" sldId="5190"/>
        </pc:sldMkLst>
        <pc:spChg chg="mod">
          <ac:chgData name="Boton, Véronique (SPAC/PSPC)" userId="9ecb94de-8111-4b3a-95b0-af63f6324db7" providerId="ADAL" clId="{5B456C22-6E14-43AA-860D-27F9212E67BF}" dt="2023-02-17T18:47:17.924" v="970" actId="20577"/>
          <ac:spMkLst>
            <pc:docMk/>
            <pc:sldMk cId="1430088768" sldId="5190"/>
            <ac:spMk id="4" creationId="{50356803-FC16-EDD3-41D2-F12ED660D11D}"/>
          </ac:spMkLst>
        </pc:spChg>
      </pc:sldChg>
      <pc:sldChg chg="modSp mod">
        <pc:chgData name="Boton, Véronique (SPAC/PSPC)" userId="9ecb94de-8111-4b3a-95b0-af63f6324db7" providerId="ADAL" clId="{5B456C22-6E14-43AA-860D-27F9212E67BF}" dt="2023-02-17T18:36:25.236" v="751" actId="20577"/>
        <pc:sldMkLst>
          <pc:docMk/>
          <pc:sldMk cId="1906532252" sldId="5191"/>
        </pc:sldMkLst>
        <pc:spChg chg="mod">
          <ac:chgData name="Boton, Véronique (SPAC/PSPC)" userId="9ecb94de-8111-4b3a-95b0-af63f6324db7" providerId="ADAL" clId="{5B456C22-6E14-43AA-860D-27F9212E67BF}" dt="2023-02-17T18:36:25.236" v="751" actId="20577"/>
          <ac:spMkLst>
            <pc:docMk/>
            <pc:sldMk cId="1906532252" sldId="5191"/>
            <ac:spMk id="5" creationId="{8450640E-C55C-5665-D2A3-49AF6FCFF2FC}"/>
          </ac:spMkLst>
        </pc:spChg>
      </pc:sldChg>
      <pc:sldChg chg="modSp mod">
        <pc:chgData name="Boton, Véronique (SPAC/PSPC)" userId="9ecb94de-8111-4b3a-95b0-af63f6324db7" providerId="ADAL" clId="{5B456C22-6E14-43AA-860D-27F9212E67BF}" dt="2023-02-17T18:48:10.478" v="982" actId="20577"/>
        <pc:sldMkLst>
          <pc:docMk/>
          <pc:sldMk cId="4097903508" sldId="5192"/>
        </pc:sldMkLst>
        <pc:spChg chg="mod">
          <ac:chgData name="Boton, Véronique (SPAC/PSPC)" userId="9ecb94de-8111-4b3a-95b0-af63f6324db7" providerId="ADAL" clId="{5B456C22-6E14-43AA-860D-27F9212E67BF}" dt="2023-02-17T18:39:31.238" v="828" actId="6549"/>
          <ac:spMkLst>
            <pc:docMk/>
            <pc:sldMk cId="4097903508" sldId="5192"/>
            <ac:spMk id="4" creationId="{1734BDC7-6FED-6D61-93E0-80716BD698E8}"/>
          </ac:spMkLst>
        </pc:spChg>
        <pc:spChg chg="mod">
          <ac:chgData name="Boton, Véronique (SPAC/PSPC)" userId="9ecb94de-8111-4b3a-95b0-af63f6324db7" providerId="ADAL" clId="{5B456C22-6E14-43AA-860D-27F9212E67BF}" dt="2023-02-17T18:48:07.282" v="979" actId="20577"/>
          <ac:spMkLst>
            <pc:docMk/>
            <pc:sldMk cId="4097903508" sldId="5192"/>
            <ac:spMk id="10" creationId="{4CDD0FAA-179F-DAB8-E6A8-1B724634D0AD}"/>
          </ac:spMkLst>
        </pc:spChg>
        <pc:spChg chg="mod">
          <ac:chgData name="Boton, Véronique (SPAC/PSPC)" userId="9ecb94de-8111-4b3a-95b0-af63f6324db7" providerId="ADAL" clId="{5B456C22-6E14-43AA-860D-27F9212E67BF}" dt="2023-02-17T18:48:10.478" v="982" actId="20577"/>
          <ac:spMkLst>
            <pc:docMk/>
            <pc:sldMk cId="4097903508" sldId="5192"/>
            <ac:spMk id="11" creationId="{827B59E4-B0AE-55C9-B564-41192761F062}"/>
          </ac:spMkLst>
        </pc:spChg>
      </pc:sldChg>
      <pc:sldChg chg="modSp mod">
        <pc:chgData name="Boton, Véronique (SPAC/PSPC)" userId="9ecb94de-8111-4b3a-95b0-af63f6324db7" providerId="ADAL" clId="{5B456C22-6E14-43AA-860D-27F9212E67BF}" dt="2023-02-17T18:53:10.968" v="1124" actId="20577"/>
        <pc:sldMkLst>
          <pc:docMk/>
          <pc:sldMk cId="4261762206" sldId="5193"/>
        </pc:sldMkLst>
        <pc:spChg chg="mod">
          <ac:chgData name="Boton, Véronique (SPAC/PSPC)" userId="9ecb94de-8111-4b3a-95b0-af63f6324db7" providerId="ADAL" clId="{5B456C22-6E14-43AA-860D-27F9212E67BF}" dt="2023-02-17T18:53:10.968" v="1124" actId="20577"/>
          <ac:spMkLst>
            <pc:docMk/>
            <pc:sldMk cId="4261762206" sldId="5193"/>
            <ac:spMk id="3" creationId="{43BB42A1-CAB7-F3BE-E39A-4715561A6063}"/>
          </ac:spMkLst>
        </pc:spChg>
      </pc:sldChg>
      <pc:sldChg chg="modSp mod">
        <pc:chgData name="Boton, Véronique (SPAC/PSPC)" userId="9ecb94de-8111-4b3a-95b0-af63f6324db7" providerId="ADAL" clId="{5B456C22-6E14-43AA-860D-27F9212E67BF}" dt="2023-02-17T19:52:32.127" v="1261" actId="20577"/>
        <pc:sldMkLst>
          <pc:docMk/>
          <pc:sldMk cId="159880889" sldId="5194"/>
        </pc:sldMkLst>
        <pc:spChg chg="mod">
          <ac:chgData name="Boton, Véronique (SPAC/PSPC)" userId="9ecb94de-8111-4b3a-95b0-af63f6324db7" providerId="ADAL" clId="{5B456C22-6E14-43AA-860D-27F9212E67BF}" dt="2023-02-17T19:52:32.127" v="1261" actId="20577"/>
          <ac:spMkLst>
            <pc:docMk/>
            <pc:sldMk cId="159880889" sldId="5194"/>
            <ac:spMk id="3" creationId="{43BB42A1-CAB7-F3BE-E39A-4715561A6063}"/>
          </ac:spMkLst>
        </pc:spChg>
      </pc:sldChg>
      <pc:sldChg chg="modSp">
        <pc:chgData name="Boton, Véronique (SPAC/PSPC)" userId="9ecb94de-8111-4b3a-95b0-af63f6324db7" providerId="ADAL" clId="{5B456C22-6E14-43AA-860D-27F9212E67BF}" dt="2023-02-17T18:57:06.489" v="1194"/>
        <pc:sldMkLst>
          <pc:docMk/>
          <pc:sldMk cId="1717156229" sldId="5197"/>
        </pc:sldMkLst>
        <pc:picChg chg="mod">
          <ac:chgData name="Boton, Véronique (SPAC/PSPC)" userId="9ecb94de-8111-4b3a-95b0-af63f6324db7" providerId="ADAL" clId="{5B456C22-6E14-43AA-860D-27F9212E67BF}" dt="2023-02-17T18:57:06.489" v="1194"/>
          <ac:picMkLst>
            <pc:docMk/>
            <pc:sldMk cId="1717156229" sldId="5197"/>
            <ac:picMk id="1028" creationId="{086D809B-CD5E-91B8-93CE-6B90CD48E902}"/>
          </ac:picMkLst>
        </pc:picChg>
      </pc:sldChg>
      <pc:sldChg chg="modSp mod">
        <pc:chgData name="Boton, Véronique (SPAC/PSPC)" userId="9ecb94de-8111-4b3a-95b0-af63f6324db7" providerId="ADAL" clId="{5B456C22-6E14-43AA-860D-27F9212E67BF}" dt="2023-02-17T18:55:58.878" v="1192" actId="20577"/>
        <pc:sldMkLst>
          <pc:docMk/>
          <pc:sldMk cId="2285816807" sldId="5198"/>
        </pc:sldMkLst>
        <pc:spChg chg="mod">
          <ac:chgData name="Boton, Véronique (SPAC/PSPC)" userId="9ecb94de-8111-4b3a-95b0-af63f6324db7" providerId="ADAL" clId="{5B456C22-6E14-43AA-860D-27F9212E67BF}" dt="2023-02-17T18:55:58.878" v="1192" actId="20577"/>
          <ac:spMkLst>
            <pc:docMk/>
            <pc:sldMk cId="2285816807" sldId="5198"/>
            <ac:spMk id="3" creationId="{43BB42A1-CAB7-F3BE-E39A-4715561A6063}"/>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explosion val="5"/>
          <c:dPt>
            <c:idx val="0"/>
            <c:bubble3D val="0"/>
            <c:spPr>
              <a:solidFill>
                <a:srgbClr val="0070C0"/>
              </a:solidFill>
              <a:ln w="19050">
                <a:noFill/>
              </a:ln>
              <a:effectLst/>
            </c:spPr>
            <c:extLst>
              <c:ext xmlns:c16="http://schemas.microsoft.com/office/drawing/2014/chart" uri="{C3380CC4-5D6E-409C-BE32-E72D297353CC}">
                <c16:uniqueId val="{00000001-CFFF-4800-98DF-A15680801967}"/>
              </c:ext>
            </c:extLst>
          </c:dPt>
          <c:dPt>
            <c:idx val="1"/>
            <c:bubble3D val="0"/>
            <c:spPr>
              <a:solidFill>
                <a:schemeClr val="bg2">
                  <a:lumMod val="75000"/>
                </a:schemeClr>
              </a:solidFill>
              <a:ln w="19050">
                <a:noFill/>
              </a:ln>
              <a:effectLst/>
            </c:spPr>
            <c:extLst>
              <c:ext xmlns:c16="http://schemas.microsoft.com/office/drawing/2014/chart" uri="{C3380CC4-5D6E-409C-BE32-E72D297353CC}">
                <c16:uniqueId val="{00000003-CFFF-4800-98DF-A15680801967}"/>
              </c:ext>
            </c:extLst>
          </c:dPt>
          <c:dPt>
            <c:idx val="2"/>
            <c:bubble3D val="0"/>
            <c:explosion val="16"/>
            <c:spPr>
              <a:solidFill>
                <a:schemeClr val="accent3"/>
              </a:solidFill>
              <a:ln w="19050">
                <a:noFill/>
              </a:ln>
              <a:effectLst/>
            </c:spPr>
            <c:extLst>
              <c:ext xmlns:c16="http://schemas.microsoft.com/office/drawing/2014/chart" uri="{C3380CC4-5D6E-409C-BE32-E72D297353CC}">
                <c16:uniqueId val="{00000002-CFFF-4800-98DF-A15680801967}"/>
              </c:ext>
            </c:extLst>
          </c:dPt>
          <c:dPt>
            <c:idx val="3"/>
            <c:bubble3D val="0"/>
            <c:spPr>
              <a:solidFill>
                <a:schemeClr val="accent4"/>
              </a:solidFill>
              <a:ln w="19050">
                <a:solidFill>
                  <a:schemeClr val="lt1"/>
                </a:solidFill>
              </a:ln>
              <a:effectLst/>
            </c:spPr>
          </c:dPt>
          <c:cat>
            <c:numRef>
              <c:f>Sheet1!$A$2:$A$5</c:f>
              <c:numCache>
                <c:formatCode>General</c:formatCode>
                <c:ptCount val="4"/>
              </c:numCache>
            </c:numRef>
          </c:cat>
          <c:val>
            <c:numRef>
              <c:f>Sheet1!$B$2:$B$5</c:f>
              <c:numCache>
                <c:formatCode>General</c:formatCode>
                <c:ptCount val="4"/>
                <c:pt idx="0">
                  <c:v>13.9</c:v>
                </c:pt>
                <c:pt idx="1">
                  <c:v>82.3</c:v>
                </c:pt>
                <c:pt idx="2">
                  <c:v>3.8</c:v>
                </c:pt>
              </c:numCache>
            </c:numRef>
          </c:val>
          <c:extLst>
            <c:ext xmlns:c16="http://schemas.microsoft.com/office/drawing/2014/chart" uri="{C3380CC4-5D6E-409C-BE32-E72D297353CC}">
              <c16:uniqueId val="{00000000-CFFF-4800-98DF-A15680801967}"/>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explosion val="5"/>
          <c:dPt>
            <c:idx val="0"/>
            <c:bubble3D val="0"/>
            <c:spPr>
              <a:solidFill>
                <a:srgbClr val="0070C0"/>
              </a:solidFill>
              <a:ln w="19050">
                <a:noFill/>
              </a:ln>
              <a:effectLst/>
            </c:spPr>
            <c:extLst>
              <c:ext xmlns:c16="http://schemas.microsoft.com/office/drawing/2014/chart" uri="{C3380CC4-5D6E-409C-BE32-E72D297353CC}">
                <c16:uniqueId val="{00000001-9406-4284-8950-1BB265C260C3}"/>
              </c:ext>
            </c:extLst>
          </c:dPt>
          <c:dPt>
            <c:idx val="1"/>
            <c:bubble3D val="0"/>
            <c:spPr>
              <a:solidFill>
                <a:schemeClr val="bg2">
                  <a:lumMod val="75000"/>
                </a:schemeClr>
              </a:solidFill>
              <a:ln w="19050">
                <a:noFill/>
              </a:ln>
              <a:effectLst/>
            </c:spPr>
            <c:extLst>
              <c:ext xmlns:c16="http://schemas.microsoft.com/office/drawing/2014/chart" uri="{C3380CC4-5D6E-409C-BE32-E72D297353CC}">
                <c16:uniqueId val="{00000003-9406-4284-8950-1BB265C260C3}"/>
              </c:ext>
            </c:extLst>
          </c:dPt>
          <c:dPt>
            <c:idx val="2"/>
            <c:bubble3D val="0"/>
            <c:explosion val="16"/>
            <c:spPr>
              <a:solidFill>
                <a:schemeClr val="accent3"/>
              </a:solidFill>
              <a:ln w="19050">
                <a:noFill/>
              </a:ln>
              <a:effectLst/>
            </c:spPr>
            <c:extLst>
              <c:ext xmlns:c16="http://schemas.microsoft.com/office/drawing/2014/chart" uri="{C3380CC4-5D6E-409C-BE32-E72D297353CC}">
                <c16:uniqueId val="{00000005-9406-4284-8950-1BB265C260C3}"/>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9406-4284-8950-1BB265C260C3}"/>
              </c:ext>
            </c:extLst>
          </c:dPt>
          <c:cat>
            <c:numRef>
              <c:f>Sheet1!$A$2:$A$5</c:f>
              <c:numCache>
                <c:formatCode>General</c:formatCode>
                <c:ptCount val="4"/>
              </c:numCache>
            </c:numRef>
          </c:cat>
          <c:val>
            <c:numRef>
              <c:f>Sheet1!$B$2:$B$5</c:f>
              <c:numCache>
                <c:formatCode>General</c:formatCode>
                <c:ptCount val="4"/>
                <c:pt idx="0">
                  <c:v>13.9</c:v>
                </c:pt>
                <c:pt idx="1">
                  <c:v>82.3</c:v>
                </c:pt>
                <c:pt idx="2">
                  <c:v>3.8</c:v>
                </c:pt>
              </c:numCache>
            </c:numRef>
          </c:val>
          <c:extLst>
            <c:ext xmlns:c16="http://schemas.microsoft.com/office/drawing/2014/chart" uri="{C3380CC4-5D6E-409C-BE32-E72D297353CC}">
              <c16:uniqueId val="{00000008-9406-4284-8950-1BB265C260C3}"/>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explosion val="5"/>
          <c:dPt>
            <c:idx val="0"/>
            <c:bubble3D val="0"/>
            <c:spPr>
              <a:solidFill>
                <a:srgbClr val="0070C0"/>
              </a:solidFill>
              <a:ln w="19050">
                <a:noFill/>
              </a:ln>
              <a:effectLst/>
            </c:spPr>
            <c:extLst>
              <c:ext xmlns:c16="http://schemas.microsoft.com/office/drawing/2014/chart" uri="{C3380CC4-5D6E-409C-BE32-E72D297353CC}">
                <c16:uniqueId val="{00000001-9406-4284-8950-1BB265C260C3}"/>
              </c:ext>
            </c:extLst>
          </c:dPt>
          <c:dPt>
            <c:idx val="1"/>
            <c:bubble3D val="0"/>
            <c:spPr>
              <a:solidFill>
                <a:schemeClr val="bg2">
                  <a:lumMod val="75000"/>
                </a:schemeClr>
              </a:solidFill>
              <a:ln w="19050">
                <a:noFill/>
              </a:ln>
              <a:effectLst/>
            </c:spPr>
            <c:extLst>
              <c:ext xmlns:c16="http://schemas.microsoft.com/office/drawing/2014/chart" uri="{C3380CC4-5D6E-409C-BE32-E72D297353CC}">
                <c16:uniqueId val="{00000003-9406-4284-8950-1BB265C260C3}"/>
              </c:ext>
            </c:extLst>
          </c:dPt>
          <c:dPt>
            <c:idx val="2"/>
            <c:bubble3D val="0"/>
            <c:explosion val="16"/>
            <c:spPr>
              <a:solidFill>
                <a:schemeClr val="accent3"/>
              </a:solidFill>
              <a:ln w="19050">
                <a:noFill/>
              </a:ln>
              <a:effectLst/>
            </c:spPr>
            <c:extLst>
              <c:ext xmlns:c16="http://schemas.microsoft.com/office/drawing/2014/chart" uri="{C3380CC4-5D6E-409C-BE32-E72D297353CC}">
                <c16:uniqueId val="{00000005-9406-4284-8950-1BB265C260C3}"/>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9406-4284-8950-1BB265C260C3}"/>
              </c:ext>
            </c:extLst>
          </c:dPt>
          <c:cat>
            <c:numRef>
              <c:f>Sheet1!$A$2:$A$5</c:f>
              <c:numCache>
                <c:formatCode>General</c:formatCode>
                <c:ptCount val="4"/>
              </c:numCache>
            </c:numRef>
          </c:cat>
          <c:val>
            <c:numRef>
              <c:f>Sheet1!$B$2:$B$5</c:f>
              <c:numCache>
                <c:formatCode>General</c:formatCode>
                <c:ptCount val="4"/>
                <c:pt idx="0">
                  <c:v>13.9</c:v>
                </c:pt>
                <c:pt idx="1">
                  <c:v>82.3</c:v>
                </c:pt>
                <c:pt idx="2">
                  <c:v>3.8</c:v>
                </c:pt>
              </c:numCache>
            </c:numRef>
          </c:val>
          <c:extLst>
            <c:ext xmlns:c16="http://schemas.microsoft.com/office/drawing/2014/chart" uri="{C3380CC4-5D6E-409C-BE32-E72D297353CC}">
              <c16:uniqueId val="{00000008-9406-4284-8950-1BB265C260C3}"/>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E84D64B-6342-4440-8FCF-B53A087A0651}" type="datetimeFigureOut">
              <a:rPr lang="en-CA" smtClean="0"/>
              <a:t>2023-02-17</a:t>
            </a:fld>
            <a:endParaRPr lang="en-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EEFDED0-7E4C-44EE-88E8-30E350A5D799}" type="slidenum">
              <a:rPr lang="en-CA" smtClean="0"/>
              <a:t>‹#›</a:t>
            </a:fld>
            <a:endParaRPr lang="en-CA"/>
          </a:p>
        </p:txBody>
      </p:sp>
    </p:spTree>
    <p:extLst>
      <p:ext uri="{BB962C8B-B14F-4D97-AF65-F5344CB8AC3E}">
        <p14:creationId xmlns:p14="http://schemas.microsoft.com/office/powerpoint/2010/main" val="13522840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a:t>2 </a:t>
            </a:r>
            <a:r>
              <a:rPr lang="fr-CA" dirty="0" err="1"/>
              <a:t>weeks</a:t>
            </a:r>
            <a:r>
              <a:rPr lang="fr-CA" dirty="0"/>
              <a:t> </a:t>
            </a:r>
            <a:r>
              <a:rPr lang="fr-CA" dirty="0" err="1"/>
              <a:t>ago</a:t>
            </a:r>
            <a:r>
              <a:rPr lang="fr-CA" dirty="0"/>
              <a:t> </a:t>
            </a:r>
            <a:r>
              <a:rPr lang="fr-CA" dirty="0" err="1"/>
              <a:t>we</a:t>
            </a:r>
            <a:r>
              <a:rPr lang="fr-CA" dirty="0"/>
              <a:t> </a:t>
            </a:r>
            <a:r>
              <a:rPr lang="fr-CA" dirty="0" err="1"/>
              <a:t>had</a:t>
            </a:r>
            <a:r>
              <a:rPr lang="fr-CA" dirty="0"/>
              <a:t> a </a:t>
            </a:r>
            <a:r>
              <a:rPr lang="fr-CA" dirty="0" err="1"/>
              <a:t>great</a:t>
            </a:r>
            <a:r>
              <a:rPr lang="fr-CA" dirty="0"/>
              <a:t> </a:t>
            </a:r>
            <a:r>
              <a:rPr lang="fr-CA" dirty="0" err="1"/>
              <a:t>presentation</a:t>
            </a:r>
            <a:r>
              <a:rPr lang="fr-CA" dirty="0"/>
              <a:t> </a:t>
            </a:r>
            <a:r>
              <a:rPr lang="fr-CA" dirty="0" err="1"/>
              <a:t>from</a:t>
            </a:r>
            <a:r>
              <a:rPr lang="fr-CA" dirty="0"/>
              <a:t> Jonathan Carrier on </a:t>
            </a:r>
            <a:r>
              <a:rPr lang="fr-CA" dirty="0" err="1"/>
              <a:t>Archibus</a:t>
            </a:r>
            <a:r>
              <a:rPr lang="fr-CA" dirty="0"/>
              <a:t> for </a:t>
            </a:r>
            <a:r>
              <a:rPr lang="fr-CA" dirty="0" err="1"/>
              <a:t>space</a:t>
            </a:r>
            <a:r>
              <a:rPr lang="fr-CA" dirty="0"/>
              <a:t> </a:t>
            </a:r>
            <a:r>
              <a:rPr lang="fr-CA" dirty="0" err="1"/>
              <a:t>booking</a:t>
            </a:r>
            <a:endParaRPr lang="fr-CA" dirty="0"/>
          </a:p>
          <a:p>
            <a:endParaRPr lang="fr-CA" dirty="0"/>
          </a:p>
          <a:p>
            <a:r>
              <a:rPr lang="fr-CA" dirty="0" err="1"/>
              <a:t>With</a:t>
            </a:r>
            <a:r>
              <a:rPr lang="fr-CA" dirty="0"/>
              <a:t> the RTO and the </a:t>
            </a:r>
            <a:r>
              <a:rPr lang="fr-CA" dirty="0" err="1"/>
              <a:t>common</a:t>
            </a:r>
            <a:r>
              <a:rPr lang="fr-CA" dirty="0"/>
              <a:t> </a:t>
            </a:r>
            <a:r>
              <a:rPr lang="fr-CA" dirty="0" err="1"/>
              <a:t>hybrid</a:t>
            </a:r>
            <a:r>
              <a:rPr lang="fr-CA" dirty="0"/>
              <a:t> model </a:t>
            </a:r>
            <a:r>
              <a:rPr lang="fr-CA" dirty="0" err="1"/>
              <a:t>we</a:t>
            </a:r>
            <a:r>
              <a:rPr lang="fr-CA" dirty="0"/>
              <a:t> </a:t>
            </a:r>
            <a:r>
              <a:rPr lang="fr-CA" dirty="0" err="1"/>
              <a:t>thought</a:t>
            </a:r>
            <a:r>
              <a:rPr lang="fr-CA" dirty="0"/>
              <a:t> </a:t>
            </a:r>
            <a:r>
              <a:rPr lang="fr-CA" dirty="0" err="1"/>
              <a:t>we</a:t>
            </a:r>
            <a:r>
              <a:rPr lang="fr-CA" dirty="0"/>
              <a:t> </a:t>
            </a:r>
            <a:r>
              <a:rPr lang="fr-CA" dirty="0" err="1"/>
              <a:t>would</a:t>
            </a:r>
            <a:r>
              <a:rPr lang="fr-CA" dirty="0"/>
              <a:t> continue the conversation of </a:t>
            </a:r>
            <a:r>
              <a:rPr lang="fr-CA" dirty="0" err="1"/>
              <a:t>space</a:t>
            </a:r>
            <a:r>
              <a:rPr lang="fr-CA" dirty="0"/>
              <a:t> </a:t>
            </a:r>
            <a:r>
              <a:rPr lang="fr-CA" dirty="0" err="1"/>
              <a:t>booking</a:t>
            </a:r>
            <a:r>
              <a:rPr lang="fr-CA" dirty="0"/>
              <a:t> to </a:t>
            </a:r>
            <a:r>
              <a:rPr lang="fr-CA" dirty="0" err="1"/>
              <a:t>hopefully</a:t>
            </a:r>
            <a:r>
              <a:rPr lang="fr-CA" dirty="0"/>
              <a:t> help support the </a:t>
            </a:r>
            <a:r>
              <a:rPr lang="fr-CA" dirty="0" err="1"/>
              <a:t>differeent</a:t>
            </a:r>
            <a:r>
              <a:rPr lang="fr-CA" dirty="0"/>
              <a:t> RTO </a:t>
            </a:r>
            <a:r>
              <a:rPr lang="fr-CA" dirty="0" err="1"/>
              <a:t>strategies</a:t>
            </a:r>
            <a:r>
              <a:rPr lang="fr-CA" dirty="0"/>
              <a:t> </a:t>
            </a:r>
            <a:r>
              <a:rPr lang="fr-CA" dirty="0" err="1"/>
              <a:t>understanding</a:t>
            </a:r>
            <a:r>
              <a:rPr lang="fr-CA" dirty="0"/>
              <a:t> </a:t>
            </a:r>
            <a:r>
              <a:rPr lang="fr-CA" dirty="0" err="1"/>
              <a:t>that</a:t>
            </a:r>
            <a:r>
              <a:rPr lang="fr-CA" dirty="0"/>
              <a:t> </a:t>
            </a:r>
            <a:r>
              <a:rPr lang="fr-CA" dirty="0" err="1"/>
              <a:t>we’re</a:t>
            </a:r>
            <a:r>
              <a:rPr lang="fr-CA" dirty="0"/>
              <a:t> all in </a:t>
            </a:r>
            <a:r>
              <a:rPr lang="fr-CA" dirty="0" err="1"/>
              <a:t>different</a:t>
            </a:r>
            <a:r>
              <a:rPr lang="fr-CA" dirty="0"/>
              <a:t> </a:t>
            </a:r>
            <a:r>
              <a:rPr lang="fr-CA" dirty="0" err="1"/>
              <a:t>boats</a:t>
            </a:r>
            <a:r>
              <a:rPr lang="fr-CA" dirty="0"/>
              <a:t> </a:t>
            </a:r>
            <a:r>
              <a:rPr lang="fr-CA" dirty="0" err="1"/>
              <a:t>with</a:t>
            </a:r>
            <a:r>
              <a:rPr lang="fr-CA" dirty="0"/>
              <a:t> </a:t>
            </a:r>
            <a:r>
              <a:rPr lang="fr-CA" dirty="0" err="1"/>
              <a:t>our</a:t>
            </a:r>
            <a:r>
              <a:rPr lang="fr-CA" dirty="0"/>
              <a:t> </a:t>
            </a:r>
            <a:r>
              <a:rPr lang="fr-CA" dirty="0" err="1"/>
              <a:t>workplaces</a:t>
            </a:r>
            <a:r>
              <a:rPr lang="fr-CA" dirty="0"/>
              <a:t> and possible accommodation options</a:t>
            </a:r>
          </a:p>
          <a:p>
            <a:endParaRPr lang="fr-CA" dirty="0"/>
          </a:p>
          <a:p>
            <a:r>
              <a:rPr lang="fr-CA" dirty="0" err="1"/>
              <a:t>These</a:t>
            </a:r>
            <a:r>
              <a:rPr lang="fr-CA" dirty="0"/>
              <a:t> are not the </a:t>
            </a:r>
            <a:r>
              <a:rPr lang="fr-CA" dirty="0" err="1"/>
              <a:t>be</a:t>
            </a:r>
            <a:r>
              <a:rPr lang="fr-CA" dirty="0"/>
              <a:t> all end all solutions but </a:t>
            </a:r>
            <a:r>
              <a:rPr lang="fr-CA" dirty="0" err="1"/>
              <a:t>rather</a:t>
            </a:r>
            <a:r>
              <a:rPr lang="fr-CA" dirty="0"/>
              <a:t> </a:t>
            </a:r>
            <a:r>
              <a:rPr lang="fr-CA" dirty="0" err="1"/>
              <a:t>considerations</a:t>
            </a:r>
            <a:r>
              <a:rPr lang="fr-CA" dirty="0"/>
              <a:t> </a:t>
            </a:r>
            <a:r>
              <a:rPr lang="fr-CA" dirty="0" err="1"/>
              <a:t>that</a:t>
            </a:r>
            <a:r>
              <a:rPr lang="fr-CA" dirty="0"/>
              <a:t> </a:t>
            </a:r>
            <a:r>
              <a:rPr lang="fr-CA" dirty="0" err="1"/>
              <a:t>we</a:t>
            </a:r>
            <a:r>
              <a:rPr lang="fr-CA" dirty="0"/>
              <a:t> </a:t>
            </a:r>
            <a:r>
              <a:rPr lang="fr-CA" dirty="0" err="1"/>
              <a:t>would</a:t>
            </a:r>
            <a:r>
              <a:rPr lang="fr-CA" dirty="0"/>
              <a:t> </a:t>
            </a:r>
            <a:r>
              <a:rPr lang="fr-CA" dirty="0" err="1"/>
              <a:t>be</a:t>
            </a:r>
            <a:r>
              <a:rPr lang="fr-CA" dirty="0"/>
              <a:t> happy </a:t>
            </a:r>
            <a:r>
              <a:rPr lang="fr-CA" dirty="0" err="1"/>
              <a:t>get</a:t>
            </a:r>
            <a:r>
              <a:rPr lang="fr-CA" dirty="0"/>
              <a:t> </a:t>
            </a:r>
            <a:r>
              <a:rPr lang="fr-CA" dirty="0" err="1"/>
              <a:t>your</a:t>
            </a:r>
            <a:r>
              <a:rPr lang="fr-CA" dirty="0"/>
              <a:t> feedback on</a:t>
            </a:r>
            <a:endParaRPr lang="en-CA" dirty="0"/>
          </a:p>
        </p:txBody>
      </p:sp>
      <p:sp>
        <p:nvSpPr>
          <p:cNvPr id="4" name="Slide Number Placeholder 3"/>
          <p:cNvSpPr>
            <a:spLocks noGrp="1"/>
          </p:cNvSpPr>
          <p:nvPr>
            <p:ph type="sldNum" sz="quarter" idx="5"/>
          </p:nvPr>
        </p:nvSpPr>
        <p:spPr/>
        <p:txBody>
          <a:bodyPr/>
          <a:lstStyle/>
          <a:p>
            <a:fld id="{7EEFDED0-7E4C-44EE-88E8-30E350A5D799}" type="slidenum">
              <a:rPr lang="en-CA" smtClean="0"/>
              <a:t>1</a:t>
            </a:fld>
            <a:endParaRPr lang="en-CA"/>
          </a:p>
        </p:txBody>
      </p:sp>
    </p:spTree>
    <p:extLst>
      <p:ext uri="{BB962C8B-B14F-4D97-AF65-F5344CB8AC3E}">
        <p14:creationId xmlns:p14="http://schemas.microsoft.com/office/powerpoint/2010/main" val="202314210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SPC Watermar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7E27613-1B2D-4813-AA0E-1D64AE75670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p:cNvSpPr>
            <a:spLocks noGrp="1"/>
          </p:cNvSpPr>
          <p:nvPr>
            <p:ph type="title"/>
          </p:nvPr>
        </p:nvSpPr>
        <p:spPr>
          <a:xfrm>
            <a:off x="451765" y="417273"/>
            <a:ext cx="10704280" cy="779462"/>
          </a:xfrm>
        </p:spPr>
        <p:txBody>
          <a:bodyPr/>
          <a:lstStyle>
            <a:lvl1pPr>
              <a:defRPr/>
            </a:lvl1pPr>
          </a:lstStyle>
          <a:p>
            <a:r>
              <a:rPr lang="en-US"/>
              <a:t>Click to edit Master title style</a:t>
            </a:r>
            <a:endParaRPr lang="en-CA"/>
          </a:p>
        </p:txBody>
      </p:sp>
      <p:sp>
        <p:nvSpPr>
          <p:cNvPr id="13" name="Content Placeholder 2"/>
          <p:cNvSpPr>
            <a:spLocks noGrp="1"/>
          </p:cNvSpPr>
          <p:nvPr>
            <p:ph idx="1"/>
          </p:nvPr>
        </p:nvSpPr>
        <p:spPr>
          <a:xfrm>
            <a:off x="451765" y="1350000"/>
            <a:ext cx="10704280" cy="475488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38566462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Content with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FAAB49F-B07E-4662-A4AB-CD728FC5FFB8}"/>
              </a:ext>
            </a:extLst>
          </p:cNvPr>
          <p:cNvSpPr/>
          <p:nvPr userDrawn="1"/>
        </p:nvSpPr>
        <p:spPr>
          <a:xfrm rot="10800000">
            <a:off x="515938" y="-17463"/>
            <a:ext cx="1258887" cy="1111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chemeClr val="bg1"/>
              </a:solidFill>
            </a:endParaRPr>
          </a:p>
        </p:txBody>
      </p:sp>
      <p:grpSp>
        <p:nvGrpSpPr>
          <p:cNvPr id="6" name="Group 9">
            <a:extLst>
              <a:ext uri="{FF2B5EF4-FFF2-40B4-BE49-F238E27FC236}">
                <a16:creationId xmlns:a16="http://schemas.microsoft.com/office/drawing/2014/main" id="{7F15F312-EEBB-47A7-B799-980F58A0CE7B}"/>
              </a:ext>
            </a:extLst>
          </p:cNvPr>
          <p:cNvGrpSpPr/>
          <p:nvPr userDrawn="1"/>
        </p:nvGrpSpPr>
        <p:grpSpPr>
          <a:xfrm rot="8650774">
            <a:off x="5037655" y="4336093"/>
            <a:ext cx="1905000" cy="2354263"/>
            <a:chOff x="11114088" y="2241550"/>
            <a:chExt cx="1905000" cy="2354263"/>
          </a:xfrm>
          <a:solidFill>
            <a:schemeClr val="bg2"/>
          </a:solidFill>
        </p:grpSpPr>
        <p:sp>
          <p:nvSpPr>
            <p:cNvPr id="7" name="Freeform 5">
              <a:extLst>
                <a:ext uri="{FF2B5EF4-FFF2-40B4-BE49-F238E27FC236}">
                  <a16:creationId xmlns:a16="http://schemas.microsoft.com/office/drawing/2014/main" id="{CC85D57B-55C0-4547-A13B-9CD14113DCFE}"/>
                </a:ext>
              </a:extLst>
            </p:cNvPr>
            <p:cNvSpPr>
              <a:spLocks/>
            </p:cNvSpPr>
            <p:nvPr/>
          </p:nvSpPr>
          <p:spPr bwMode="auto">
            <a:xfrm>
              <a:off x="11114088" y="2241550"/>
              <a:ext cx="1905000" cy="2354263"/>
            </a:xfrm>
            <a:custGeom>
              <a:avLst/>
              <a:gdLst>
                <a:gd name="T0" fmla="*/ 0 w 447"/>
                <a:gd name="T1" fmla="*/ 264 h 553"/>
                <a:gd name="T2" fmla="*/ 141 w 447"/>
                <a:gd name="T3" fmla="*/ 48 h 553"/>
                <a:gd name="T4" fmla="*/ 414 w 447"/>
                <a:gd name="T5" fmla="*/ 67 h 553"/>
                <a:gd name="T6" fmla="*/ 438 w 447"/>
                <a:gd name="T7" fmla="*/ 98 h 553"/>
                <a:gd name="T8" fmla="*/ 391 w 447"/>
                <a:gd name="T9" fmla="*/ 111 h 553"/>
                <a:gd name="T10" fmla="*/ 94 w 447"/>
                <a:gd name="T11" fmla="*/ 149 h 553"/>
                <a:gd name="T12" fmla="*/ 107 w 447"/>
                <a:gd name="T13" fmla="*/ 424 h 553"/>
                <a:gd name="T14" fmla="*/ 383 w 447"/>
                <a:gd name="T15" fmla="*/ 453 h 553"/>
                <a:gd name="T16" fmla="*/ 393 w 447"/>
                <a:gd name="T17" fmla="*/ 446 h 553"/>
                <a:gd name="T18" fmla="*/ 433 w 447"/>
                <a:gd name="T19" fmla="*/ 449 h 553"/>
                <a:gd name="T20" fmla="*/ 421 w 447"/>
                <a:gd name="T21" fmla="*/ 485 h 553"/>
                <a:gd name="T22" fmla="*/ 194 w 447"/>
                <a:gd name="T23" fmla="*/ 531 h 553"/>
                <a:gd name="T24" fmla="*/ 0 w 447"/>
                <a:gd name="T25" fmla="*/ 264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7" h="553">
                  <a:moveTo>
                    <a:pt x="0" y="264"/>
                  </a:moveTo>
                  <a:cubicBezTo>
                    <a:pt x="5" y="176"/>
                    <a:pt x="49" y="96"/>
                    <a:pt x="141" y="48"/>
                  </a:cubicBezTo>
                  <a:cubicBezTo>
                    <a:pt x="235" y="0"/>
                    <a:pt x="327" y="9"/>
                    <a:pt x="414" y="67"/>
                  </a:cubicBezTo>
                  <a:cubicBezTo>
                    <a:pt x="425" y="75"/>
                    <a:pt x="439" y="82"/>
                    <a:pt x="438" y="98"/>
                  </a:cubicBezTo>
                  <a:cubicBezTo>
                    <a:pt x="437" y="120"/>
                    <a:pt x="413" y="127"/>
                    <a:pt x="391" y="111"/>
                  </a:cubicBezTo>
                  <a:cubicBezTo>
                    <a:pt x="294" y="40"/>
                    <a:pt x="166" y="56"/>
                    <a:pt x="94" y="149"/>
                  </a:cubicBezTo>
                  <a:cubicBezTo>
                    <a:pt x="30" y="231"/>
                    <a:pt x="36" y="349"/>
                    <a:pt x="107" y="424"/>
                  </a:cubicBezTo>
                  <a:cubicBezTo>
                    <a:pt x="180" y="502"/>
                    <a:pt x="296" y="514"/>
                    <a:pt x="383" y="453"/>
                  </a:cubicBezTo>
                  <a:cubicBezTo>
                    <a:pt x="386" y="451"/>
                    <a:pt x="390" y="449"/>
                    <a:pt x="393" y="446"/>
                  </a:cubicBezTo>
                  <a:cubicBezTo>
                    <a:pt x="407" y="433"/>
                    <a:pt x="420" y="433"/>
                    <a:pt x="433" y="449"/>
                  </a:cubicBezTo>
                  <a:cubicBezTo>
                    <a:pt x="447" y="467"/>
                    <a:pt x="433" y="477"/>
                    <a:pt x="421" y="485"/>
                  </a:cubicBezTo>
                  <a:cubicBezTo>
                    <a:pt x="353" y="537"/>
                    <a:pt x="277" y="553"/>
                    <a:pt x="194" y="531"/>
                  </a:cubicBezTo>
                  <a:cubicBezTo>
                    <a:pt x="79" y="501"/>
                    <a:pt x="1" y="397"/>
                    <a:pt x="0" y="264"/>
                  </a:cubicBezTo>
                  <a:close/>
                </a:path>
              </a:pathLst>
            </a:custGeom>
            <a:grpFill/>
            <a:ln>
              <a:noFill/>
            </a:ln>
          </p:spPr>
          <p:txBody>
            <a:bodyPr/>
            <a:lstStyle/>
            <a:p>
              <a:pPr>
                <a:defRPr/>
              </a:pPr>
              <a:endParaRPr lang="en-US" dirty="0"/>
            </a:p>
          </p:txBody>
        </p:sp>
        <p:sp>
          <p:nvSpPr>
            <p:cNvPr id="8" name="Freeform 6">
              <a:extLst>
                <a:ext uri="{FF2B5EF4-FFF2-40B4-BE49-F238E27FC236}">
                  <a16:creationId xmlns:a16="http://schemas.microsoft.com/office/drawing/2014/main" id="{019BE6C6-AFE7-453C-9263-16221E72B340}"/>
                </a:ext>
              </a:extLst>
            </p:cNvPr>
            <p:cNvSpPr>
              <a:spLocks/>
            </p:cNvSpPr>
            <p:nvPr/>
          </p:nvSpPr>
          <p:spPr bwMode="auto">
            <a:xfrm>
              <a:off x="11412538" y="2590800"/>
              <a:ext cx="835025" cy="1673225"/>
            </a:xfrm>
            <a:custGeom>
              <a:avLst/>
              <a:gdLst>
                <a:gd name="T0" fmla="*/ 0 w 196"/>
                <a:gd name="T1" fmla="*/ 198 h 393"/>
                <a:gd name="T2" fmla="*/ 157 w 196"/>
                <a:gd name="T3" fmla="*/ 8 h 393"/>
                <a:gd name="T4" fmla="*/ 192 w 196"/>
                <a:gd name="T5" fmla="*/ 22 h 393"/>
                <a:gd name="T6" fmla="*/ 167 w 196"/>
                <a:gd name="T7" fmla="*/ 56 h 393"/>
                <a:gd name="T8" fmla="*/ 48 w 196"/>
                <a:gd name="T9" fmla="*/ 198 h 393"/>
                <a:gd name="T10" fmla="*/ 170 w 196"/>
                <a:gd name="T11" fmla="*/ 339 h 393"/>
                <a:gd name="T12" fmla="*/ 193 w 196"/>
                <a:gd name="T13" fmla="*/ 372 h 393"/>
                <a:gd name="T14" fmla="*/ 160 w 196"/>
                <a:gd name="T15" fmla="*/ 387 h 393"/>
                <a:gd name="T16" fmla="*/ 0 w 196"/>
                <a:gd name="T17" fmla="*/ 198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393">
                  <a:moveTo>
                    <a:pt x="0" y="198"/>
                  </a:moveTo>
                  <a:cubicBezTo>
                    <a:pt x="0" y="103"/>
                    <a:pt x="64" y="26"/>
                    <a:pt x="157" y="8"/>
                  </a:cubicBezTo>
                  <a:cubicBezTo>
                    <a:pt x="171" y="6"/>
                    <a:pt x="188" y="0"/>
                    <a:pt x="192" y="22"/>
                  </a:cubicBezTo>
                  <a:cubicBezTo>
                    <a:pt x="196" y="41"/>
                    <a:pt x="190" y="52"/>
                    <a:pt x="167" y="56"/>
                  </a:cubicBezTo>
                  <a:cubicBezTo>
                    <a:pt x="95" y="70"/>
                    <a:pt x="47" y="129"/>
                    <a:pt x="48" y="198"/>
                  </a:cubicBezTo>
                  <a:cubicBezTo>
                    <a:pt x="48" y="267"/>
                    <a:pt x="97" y="325"/>
                    <a:pt x="170" y="339"/>
                  </a:cubicBezTo>
                  <a:cubicBezTo>
                    <a:pt x="191" y="343"/>
                    <a:pt x="195" y="354"/>
                    <a:pt x="193" y="372"/>
                  </a:cubicBezTo>
                  <a:cubicBezTo>
                    <a:pt x="190" y="393"/>
                    <a:pt x="174" y="389"/>
                    <a:pt x="160" y="387"/>
                  </a:cubicBezTo>
                  <a:cubicBezTo>
                    <a:pt x="70" y="375"/>
                    <a:pt x="0" y="293"/>
                    <a:pt x="0" y="198"/>
                  </a:cubicBezTo>
                  <a:close/>
                </a:path>
              </a:pathLst>
            </a:custGeom>
            <a:grpFill/>
            <a:ln>
              <a:noFill/>
            </a:ln>
          </p:spPr>
          <p:txBody>
            <a:bodyPr/>
            <a:lstStyle/>
            <a:p>
              <a:pPr>
                <a:defRPr/>
              </a:pPr>
              <a:endParaRPr lang="en-US" dirty="0"/>
            </a:p>
          </p:txBody>
        </p:sp>
        <p:sp>
          <p:nvSpPr>
            <p:cNvPr id="9" name="Freeform 7">
              <a:extLst>
                <a:ext uri="{FF2B5EF4-FFF2-40B4-BE49-F238E27FC236}">
                  <a16:creationId xmlns:a16="http://schemas.microsoft.com/office/drawing/2014/main" id="{AB9C9D5E-8E04-4973-89B8-57D174254AC6}"/>
                </a:ext>
              </a:extLst>
            </p:cNvPr>
            <p:cNvSpPr>
              <a:spLocks/>
            </p:cNvSpPr>
            <p:nvPr/>
          </p:nvSpPr>
          <p:spPr bwMode="auto">
            <a:xfrm>
              <a:off x="11728451" y="3071813"/>
              <a:ext cx="306388" cy="719138"/>
            </a:xfrm>
            <a:custGeom>
              <a:avLst/>
              <a:gdLst>
                <a:gd name="T0" fmla="*/ 0 w 72"/>
                <a:gd name="T1" fmla="*/ 84 h 169"/>
                <a:gd name="T2" fmla="*/ 20 w 72"/>
                <a:gd name="T3" fmla="*/ 20 h 169"/>
                <a:gd name="T4" fmla="*/ 42 w 72"/>
                <a:gd name="T5" fmla="*/ 9 h 169"/>
                <a:gd name="T6" fmla="*/ 62 w 72"/>
                <a:gd name="T7" fmla="*/ 44 h 169"/>
                <a:gd name="T8" fmla="*/ 62 w 72"/>
                <a:gd name="T9" fmla="*/ 125 h 169"/>
                <a:gd name="T10" fmla="*/ 43 w 72"/>
                <a:gd name="T11" fmla="*/ 159 h 169"/>
                <a:gd name="T12" fmla="*/ 20 w 72"/>
                <a:gd name="T13" fmla="*/ 148 h 169"/>
                <a:gd name="T14" fmla="*/ 0 w 72"/>
                <a:gd name="T15" fmla="*/ 84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69">
                  <a:moveTo>
                    <a:pt x="0" y="84"/>
                  </a:moveTo>
                  <a:cubicBezTo>
                    <a:pt x="2" y="62"/>
                    <a:pt x="6" y="39"/>
                    <a:pt x="20" y="20"/>
                  </a:cubicBezTo>
                  <a:cubicBezTo>
                    <a:pt x="25" y="13"/>
                    <a:pt x="31" y="0"/>
                    <a:pt x="42" y="9"/>
                  </a:cubicBezTo>
                  <a:cubicBezTo>
                    <a:pt x="53" y="18"/>
                    <a:pt x="72" y="25"/>
                    <a:pt x="62" y="44"/>
                  </a:cubicBezTo>
                  <a:cubicBezTo>
                    <a:pt x="47" y="72"/>
                    <a:pt x="47" y="97"/>
                    <a:pt x="62" y="125"/>
                  </a:cubicBezTo>
                  <a:cubicBezTo>
                    <a:pt x="72" y="143"/>
                    <a:pt x="53" y="151"/>
                    <a:pt x="43" y="159"/>
                  </a:cubicBezTo>
                  <a:cubicBezTo>
                    <a:pt x="31" y="169"/>
                    <a:pt x="25" y="156"/>
                    <a:pt x="20" y="148"/>
                  </a:cubicBezTo>
                  <a:cubicBezTo>
                    <a:pt x="6" y="129"/>
                    <a:pt x="2" y="107"/>
                    <a:pt x="0" y="84"/>
                  </a:cubicBezTo>
                  <a:close/>
                </a:path>
              </a:pathLst>
            </a:custGeom>
            <a:grpFill/>
            <a:ln>
              <a:noFill/>
            </a:ln>
          </p:spPr>
          <p:txBody>
            <a:bodyPr/>
            <a:lstStyle/>
            <a:p>
              <a:pPr>
                <a:defRPr/>
              </a:pPr>
              <a:endParaRPr lang="en-US" dirty="0"/>
            </a:p>
          </p:txBody>
        </p:sp>
      </p:grpSp>
      <p:sp>
        <p:nvSpPr>
          <p:cNvPr id="10" name="Oval 14">
            <a:extLst>
              <a:ext uri="{FF2B5EF4-FFF2-40B4-BE49-F238E27FC236}">
                <a16:creationId xmlns:a16="http://schemas.microsoft.com/office/drawing/2014/main" id="{65B2B074-29DB-4B98-ABF3-30EFCC2157C2}"/>
              </a:ext>
            </a:extLst>
          </p:cNvPr>
          <p:cNvSpPr/>
          <p:nvPr userDrawn="1"/>
        </p:nvSpPr>
        <p:spPr>
          <a:xfrm>
            <a:off x="11371263" y="6408738"/>
            <a:ext cx="280987" cy="28098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 name="Content Placeholder 2"/>
          <p:cNvSpPr>
            <a:spLocks noGrp="1"/>
          </p:cNvSpPr>
          <p:nvPr>
            <p:ph idx="1"/>
          </p:nvPr>
        </p:nvSpPr>
        <p:spPr>
          <a:xfrm>
            <a:off x="538960" y="1825625"/>
            <a:ext cx="4914189" cy="4351338"/>
          </a:xfrm>
        </p:spPr>
        <p:txBody>
          <a:bodyPr>
            <a:noAutofit/>
          </a:bodyPr>
          <a:lstStyle>
            <a:lvl1pPr>
              <a:defRPr sz="2400"/>
            </a:lvl1pPr>
            <a:lvl2pPr>
              <a:defRPr sz="2000"/>
            </a:lvl2pPr>
            <a:lvl3pPr>
              <a:defRPr sz="1800"/>
            </a:lvl3pPr>
            <a:lvl4pPr>
              <a:defRPr sz="1600"/>
            </a:lvl4pPr>
            <a:lvl5pPr>
              <a:defRPr sz="16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Picture Placeholder 22"/>
          <p:cNvSpPr>
            <a:spLocks noGrp="1"/>
          </p:cNvSpPr>
          <p:nvPr>
            <p:ph type="pic" sz="quarter" idx="13"/>
          </p:nvPr>
        </p:nvSpPr>
        <p:spPr>
          <a:xfrm>
            <a:off x="5884648" y="0"/>
            <a:ext cx="6307353" cy="5780372"/>
          </a:xfrm>
          <a:custGeom>
            <a:avLst/>
            <a:gdLst>
              <a:gd name="connsiteX0" fmla="*/ 760444 w 6307353"/>
              <a:gd name="connsiteY0" fmla="*/ 0 h 5780372"/>
              <a:gd name="connsiteX1" fmla="*/ 6307353 w 6307353"/>
              <a:gd name="connsiteY1" fmla="*/ 0 h 5780372"/>
              <a:gd name="connsiteX2" fmla="*/ 6307353 w 6307353"/>
              <a:gd name="connsiteY2" fmla="*/ 4515612 h 5780372"/>
              <a:gd name="connsiteX3" fmla="*/ 6110746 w 6307353"/>
              <a:gd name="connsiteY3" fmla="*/ 4731934 h 5780372"/>
              <a:gd name="connsiteX4" fmla="*/ 3579592 w 6307353"/>
              <a:gd name="connsiteY4" fmla="*/ 5780372 h 5780372"/>
              <a:gd name="connsiteX5" fmla="*/ 0 w 6307353"/>
              <a:gd name="connsiteY5" fmla="*/ 2200780 h 5780372"/>
              <a:gd name="connsiteX6" fmla="*/ 611338 w 6307353"/>
              <a:gd name="connsiteY6" fmla="*/ 199396 h 5780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07353" h="5780372">
                <a:moveTo>
                  <a:pt x="760444" y="0"/>
                </a:moveTo>
                <a:lnTo>
                  <a:pt x="6307353" y="0"/>
                </a:lnTo>
                <a:lnTo>
                  <a:pt x="6307353" y="4515612"/>
                </a:lnTo>
                <a:lnTo>
                  <a:pt x="6110746" y="4731934"/>
                </a:lnTo>
                <a:cubicBezTo>
                  <a:pt x="5462967" y="5379713"/>
                  <a:pt x="4568069" y="5780372"/>
                  <a:pt x="3579592" y="5780372"/>
                </a:cubicBezTo>
                <a:cubicBezTo>
                  <a:pt x="1602638" y="5780372"/>
                  <a:pt x="0" y="4177734"/>
                  <a:pt x="0" y="2200780"/>
                </a:cubicBezTo>
                <a:cubicBezTo>
                  <a:pt x="0" y="1459422"/>
                  <a:pt x="225371" y="770703"/>
                  <a:pt x="611338" y="199396"/>
                </a:cubicBezTo>
                <a:close/>
              </a:path>
            </a:pathLst>
          </a:custGeom>
          <a:solidFill>
            <a:schemeClr val="bg2"/>
          </a:solidFill>
        </p:spPr>
        <p:txBody>
          <a:bodyPr anchor="ctr">
            <a:noAutofit/>
          </a:bodyPr>
          <a:lstStyle>
            <a:lvl1pPr marL="0" indent="0" algn="ctr">
              <a:buNone/>
              <a:defRPr/>
            </a:lvl1pPr>
          </a:lstStyle>
          <a:p>
            <a:pPr lvl="0"/>
            <a:r>
              <a:rPr lang="en-US" noProof="0" dirty="0"/>
              <a:t>Click icon to add picture</a:t>
            </a:r>
          </a:p>
        </p:txBody>
      </p:sp>
      <p:sp>
        <p:nvSpPr>
          <p:cNvPr id="14" name="Title 1"/>
          <p:cNvSpPr>
            <a:spLocks noGrp="1"/>
          </p:cNvSpPr>
          <p:nvPr>
            <p:ph type="title"/>
          </p:nvPr>
        </p:nvSpPr>
        <p:spPr>
          <a:xfrm>
            <a:off x="515938" y="499595"/>
            <a:ext cx="4937211" cy="1325563"/>
          </a:xfrm>
        </p:spPr>
        <p:txBody>
          <a:bodyPr>
            <a:noAutofit/>
          </a:bodyPr>
          <a:lstStyle>
            <a:lvl1pPr>
              <a:defRPr sz="3200" b="1" cap="all" baseline="0"/>
            </a:lvl1pPr>
          </a:lstStyle>
          <a:p>
            <a:r>
              <a:rPr lang="en-US" noProof="0"/>
              <a:t>Click to edit Master title style</a:t>
            </a:r>
          </a:p>
        </p:txBody>
      </p:sp>
      <p:sp>
        <p:nvSpPr>
          <p:cNvPr id="11" name="Slide Number Placeholder 5">
            <a:extLst>
              <a:ext uri="{FF2B5EF4-FFF2-40B4-BE49-F238E27FC236}">
                <a16:creationId xmlns:a16="http://schemas.microsoft.com/office/drawing/2014/main" id="{D076C476-2A2F-4F81-9125-6EB217D4F779}"/>
              </a:ext>
            </a:extLst>
          </p:cNvPr>
          <p:cNvSpPr>
            <a:spLocks noGrp="1"/>
          </p:cNvSpPr>
          <p:nvPr>
            <p:ph type="sldNum" sz="quarter" idx="14"/>
          </p:nvPr>
        </p:nvSpPr>
        <p:spPr>
          <a:xfrm>
            <a:off x="11363325" y="6456363"/>
            <a:ext cx="295275" cy="187325"/>
          </a:xfrm>
          <a:prstGeom prst="rect">
            <a:avLst/>
          </a:prstGeom>
        </p:spPr>
        <p:txBody>
          <a:bodyPr/>
          <a:lstStyle>
            <a:lvl1pPr algn="ctr">
              <a:defRPr sz="900">
                <a:solidFill>
                  <a:schemeClr val="bg1"/>
                </a:solidFill>
                <a:latin typeface="+mn-lt"/>
              </a:defRPr>
            </a:lvl1pPr>
          </a:lstStyle>
          <a:p>
            <a:pPr>
              <a:defRPr/>
            </a:pPr>
            <a:fld id="{14611018-717C-47E9-84A6-921FAA96583E}" type="slidenum">
              <a:rPr lang="en-US"/>
              <a:pPr>
                <a:defRPr/>
              </a:pPr>
              <a:t>‹#›</a:t>
            </a:fld>
            <a:endParaRPr lang="en-US" dirty="0"/>
          </a:p>
        </p:txBody>
      </p:sp>
    </p:spTree>
    <p:extLst>
      <p:ext uri="{BB962C8B-B14F-4D97-AF65-F5344CB8AC3E}">
        <p14:creationId xmlns:p14="http://schemas.microsoft.com/office/powerpoint/2010/main" val="16301979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3_Blank">
    <p:spTree>
      <p:nvGrpSpPr>
        <p:cNvPr id="1" name=""/>
        <p:cNvGrpSpPr/>
        <p:nvPr/>
      </p:nvGrpSpPr>
      <p:grpSpPr>
        <a:xfrm>
          <a:off x="0" y="0"/>
          <a:ext cx="0" cy="0"/>
          <a:chOff x="0" y="0"/>
          <a:chExt cx="0" cy="0"/>
        </a:xfrm>
      </p:grpSpPr>
      <p:graphicFrame>
        <p:nvGraphicFramePr>
          <p:cNvPr id="4" name="Object 1" hidden="1">
            <a:extLst>
              <a:ext uri="{FF2B5EF4-FFF2-40B4-BE49-F238E27FC236}">
                <a16:creationId xmlns:a16="http://schemas.microsoft.com/office/drawing/2014/main" id="{1E75494B-D112-47CB-A382-20664E20F71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1" hidden="1">
                        <a:extLst>
                          <a:ext uri="{FF2B5EF4-FFF2-40B4-BE49-F238E27FC236}">
                            <a16:creationId xmlns:a16="http://schemas.microsoft.com/office/drawing/2014/main" id="{1E75494B-D112-47CB-A382-20664E20F7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5" name="Straight Connector 4">
            <a:extLst>
              <a:ext uri="{FF2B5EF4-FFF2-40B4-BE49-F238E27FC236}">
                <a16:creationId xmlns:a16="http://schemas.microsoft.com/office/drawing/2014/main" id="{81A4DD01-B7E4-4946-9F65-894CC77CD4C6}"/>
              </a:ext>
            </a:extLst>
          </p:cNvPr>
          <p:cNvCxnSpPr>
            <a:cxnSpLocks/>
          </p:cNvCxnSpPr>
          <p:nvPr userDrawn="1"/>
        </p:nvCxnSpPr>
        <p:spPr>
          <a:xfrm flipH="1">
            <a:off x="0" y="908050"/>
            <a:ext cx="9647238" cy="0"/>
          </a:xfrm>
          <a:prstGeom prst="line">
            <a:avLst/>
          </a:prstGeom>
          <a:ln w="25400">
            <a:solidFill>
              <a:srgbClr val="C3D94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1C73AF64-B4E2-4C28-8BEB-558971C5F08C}"/>
              </a:ext>
            </a:extLst>
          </p:cNvPr>
          <p:cNvSpPr txBox="1">
            <a:spLocks/>
          </p:cNvSpPr>
          <p:nvPr userDrawn="1"/>
        </p:nvSpPr>
        <p:spPr>
          <a:xfrm>
            <a:off x="5829300" y="6456363"/>
            <a:ext cx="365125" cy="247650"/>
          </a:xfrm>
          <a:prstGeom prst="rect">
            <a:avLst/>
          </a:prstGeom>
        </p:spPr>
        <p:txBody>
          <a:bodyPr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26B839F1-FA23-4C33-A2A6-1F7AA12737C6}" type="slidenum">
              <a:rPr lang="en-US" smtClean="0"/>
              <a:pPr>
                <a:defRPr/>
              </a:pPr>
              <a:t>‹#›</a:t>
            </a:fld>
            <a:endParaRPr lang="en-US" dirty="0"/>
          </a:p>
        </p:txBody>
      </p:sp>
      <p:pic>
        <p:nvPicPr>
          <p:cNvPr id="9" name="Picture 10" descr="A close up of a logo&#10;&#10;Description automatically generated">
            <a:extLst>
              <a:ext uri="{FF2B5EF4-FFF2-40B4-BE49-F238E27FC236}">
                <a16:creationId xmlns:a16="http://schemas.microsoft.com/office/drawing/2014/main" id="{EA4C4158-9123-4E5A-9A24-091DEC497084}"/>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68313" y="6264275"/>
            <a:ext cx="11199812" cy="40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descr="A close up of an object&#10;&#10;Description automatically generated">
            <a:extLst>
              <a:ext uri="{FF2B5EF4-FFF2-40B4-BE49-F238E27FC236}">
                <a16:creationId xmlns:a16="http://schemas.microsoft.com/office/drawing/2014/main" id="{5906A7C1-285F-4F1D-B772-1CD19725E02D}"/>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68313" y="5651500"/>
            <a:ext cx="11199812" cy="427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a:spLocks noGrp="1"/>
          </p:cNvSpPr>
          <p:nvPr>
            <p:ph type="title"/>
          </p:nvPr>
        </p:nvSpPr>
        <p:spPr>
          <a:xfrm>
            <a:off x="47329" y="116632"/>
            <a:ext cx="9601067" cy="998984"/>
          </a:xfrm>
        </p:spPr>
        <p:txBody>
          <a:bodyPr/>
          <a:lstStyle>
            <a:lvl1pPr algn="r">
              <a:defRPr sz="3200"/>
            </a:lvl1pPr>
          </a:lstStyle>
          <a:p>
            <a:r>
              <a:rPr lang="en-US"/>
              <a:t>Click to edit Master title style</a:t>
            </a:r>
          </a:p>
        </p:txBody>
      </p:sp>
      <p:sp>
        <p:nvSpPr>
          <p:cNvPr id="7" name="Content Placeholder 2"/>
          <p:cNvSpPr>
            <a:spLocks noGrp="1"/>
          </p:cNvSpPr>
          <p:nvPr>
            <p:ph idx="1"/>
          </p:nvPr>
        </p:nvSpPr>
        <p:spPr>
          <a:xfrm>
            <a:off x="911424" y="1187624"/>
            <a:ext cx="10363200" cy="4114800"/>
          </a:xfrm>
        </p:spPr>
        <p:txBody>
          <a:bodyPr/>
          <a:lstStyle>
            <a:lvl1pPr>
              <a:defRPr sz="2800"/>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95046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White">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20537592-0588-4D1E-9690-8590C238FA4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1765" y="417273"/>
            <a:ext cx="10704280" cy="779462"/>
          </a:xfrm>
        </p:spPr>
        <p:txBody>
          <a:bodyPr/>
          <a:lstStyle>
            <a:lvl1pPr>
              <a:defRPr/>
            </a:lvl1pPr>
          </a:lstStyle>
          <a:p>
            <a:r>
              <a:rPr lang="en-US"/>
              <a:t>Click to edit Master title style</a:t>
            </a:r>
            <a:endParaRPr lang="en-CA"/>
          </a:p>
        </p:txBody>
      </p:sp>
      <p:sp>
        <p:nvSpPr>
          <p:cNvPr id="3" name="Content Placeholder 2"/>
          <p:cNvSpPr>
            <a:spLocks noGrp="1"/>
          </p:cNvSpPr>
          <p:nvPr>
            <p:ph idx="1"/>
          </p:nvPr>
        </p:nvSpPr>
        <p:spPr>
          <a:xfrm>
            <a:off x="451765" y="1350000"/>
            <a:ext cx="10704280" cy="475488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1584285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White">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8FD61AFB-4DEF-465D-90A6-660ED42069C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5" descr="Chart&#10;&#10;Description automatically generated">
            <a:extLst>
              <a:ext uri="{FF2B5EF4-FFF2-40B4-BE49-F238E27FC236}">
                <a16:creationId xmlns:a16="http://schemas.microsoft.com/office/drawing/2014/main" id="{393A4B56-3984-4F59-9B3C-CC215156110F}"/>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447675"/>
            <a:ext cx="12192000" cy="5962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56BA9B33-34FC-46FC-9196-C7FAB07B7B47}"/>
              </a:ext>
            </a:extLst>
          </p:cNvPr>
          <p:cNvSpPr/>
          <p:nvPr userDrawn="1"/>
        </p:nvSpPr>
        <p:spPr>
          <a:xfrm>
            <a:off x="0" y="0"/>
            <a:ext cx="12192000" cy="762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sz="1636" dirty="0"/>
          </a:p>
        </p:txBody>
      </p:sp>
      <p:sp>
        <p:nvSpPr>
          <p:cNvPr id="7" name="Rectangle 6">
            <a:extLst>
              <a:ext uri="{FF2B5EF4-FFF2-40B4-BE49-F238E27FC236}">
                <a16:creationId xmlns:a16="http://schemas.microsoft.com/office/drawing/2014/main" id="{55EEFB14-A4C4-47BC-A337-32B06E3E9F8B}"/>
              </a:ext>
            </a:extLst>
          </p:cNvPr>
          <p:cNvSpPr/>
          <p:nvPr userDrawn="1"/>
        </p:nvSpPr>
        <p:spPr>
          <a:xfrm>
            <a:off x="0" y="6410325"/>
            <a:ext cx="12192000" cy="447675"/>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sz="1636" dirty="0"/>
          </a:p>
        </p:txBody>
      </p:sp>
      <p:sp>
        <p:nvSpPr>
          <p:cNvPr id="2" name="Title 1"/>
          <p:cNvSpPr>
            <a:spLocks noGrp="1"/>
          </p:cNvSpPr>
          <p:nvPr>
            <p:ph type="title"/>
          </p:nvPr>
        </p:nvSpPr>
        <p:spPr>
          <a:xfrm>
            <a:off x="451765" y="417273"/>
            <a:ext cx="10704280" cy="779462"/>
          </a:xfrm>
        </p:spPr>
        <p:txBody>
          <a:bodyPr/>
          <a:lstStyle>
            <a:lvl1pPr>
              <a:defRPr/>
            </a:lvl1pPr>
          </a:lstStyle>
          <a:p>
            <a:r>
              <a:rPr lang="en-US"/>
              <a:t>Click to edit Master title style</a:t>
            </a:r>
            <a:endParaRPr lang="en-CA"/>
          </a:p>
        </p:txBody>
      </p:sp>
      <p:sp>
        <p:nvSpPr>
          <p:cNvPr id="3" name="Content Placeholder 2"/>
          <p:cNvSpPr>
            <a:spLocks noGrp="1"/>
          </p:cNvSpPr>
          <p:nvPr>
            <p:ph idx="1"/>
          </p:nvPr>
        </p:nvSpPr>
        <p:spPr>
          <a:xfrm>
            <a:off x="451765" y="1350000"/>
            <a:ext cx="10704280" cy="475488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41096888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5" name="Picture 6">
            <a:extLst>
              <a:ext uri="{FF2B5EF4-FFF2-40B4-BE49-F238E27FC236}">
                <a16:creationId xmlns:a16="http://schemas.microsoft.com/office/drawing/2014/main" id="{C546D6A8-A121-48C7-902A-92CE74F1956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88" y="114300"/>
            <a:ext cx="11953876"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a:extLst>
              <a:ext uri="{FF2B5EF4-FFF2-40B4-BE49-F238E27FC236}">
                <a16:creationId xmlns:a16="http://schemas.microsoft.com/office/drawing/2014/main" id="{CA988A53-39A3-41D3-A0A1-961A592895DC}"/>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t="43301"/>
          <a:stretch>
            <a:fillRect/>
          </a:stretch>
        </p:blipFill>
        <p:spPr bwMode="auto">
          <a:xfrm>
            <a:off x="0" y="6308725"/>
            <a:ext cx="12192000" cy="433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026"/>
          <p:cNvSpPr>
            <a:spLocks noGrp="1" noChangeArrowheads="1"/>
          </p:cNvSpPr>
          <p:nvPr>
            <p:ph type="ctrTitle"/>
          </p:nvPr>
        </p:nvSpPr>
        <p:spPr>
          <a:xfrm>
            <a:off x="914400" y="2286000"/>
            <a:ext cx="10363200" cy="1143000"/>
          </a:xfrm>
        </p:spPr>
        <p:txBody>
          <a:bodyPr/>
          <a:lstStyle>
            <a:lvl1pPr algn="l">
              <a:defRPr sz="3600" b="0">
                <a:solidFill>
                  <a:srgbClr val="3F464A"/>
                </a:solidFill>
              </a:defRPr>
            </a:lvl1pPr>
          </a:lstStyle>
          <a:p>
            <a:r>
              <a:rPr lang="en-US"/>
              <a:t>Click to edit Master title style</a:t>
            </a:r>
          </a:p>
        </p:txBody>
      </p:sp>
      <p:sp>
        <p:nvSpPr>
          <p:cNvPr id="8" name="Rectangle 1027"/>
          <p:cNvSpPr>
            <a:spLocks noGrp="1" noChangeArrowheads="1"/>
          </p:cNvSpPr>
          <p:nvPr>
            <p:ph type="subTitle" idx="1"/>
          </p:nvPr>
        </p:nvSpPr>
        <p:spPr>
          <a:xfrm>
            <a:off x="914400" y="3310731"/>
            <a:ext cx="8534400" cy="1752600"/>
          </a:xfrm>
        </p:spPr>
        <p:txBody>
          <a:bodyPr/>
          <a:lstStyle>
            <a:lvl1pPr marL="0" indent="0" algn="l">
              <a:buFontTx/>
              <a:buNone/>
              <a:defRPr sz="1800">
                <a:solidFill>
                  <a:srgbClr val="3F464A"/>
                </a:solidFill>
              </a:defRPr>
            </a:lvl1pPr>
          </a:lstStyle>
          <a:p>
            <a:r>
              <a:rPr lang="en-US"/>
              <a:t>Click to edit Master subtitle style</a:t>
            </a:r>
          </a:p>
        </p:txBody>
      </p:sp>
    </p:spTree>
    <p:extLst>
      <p:ext uri="{BB962C8B-B14F-4D97-AF65-F5344CB8AC3E}">
        <p14:creationId xmlns:p14="http://schemas.microsoft.com/office/powerpoint/2010/main" val="16610184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7" name="Picture 4">
            <a:extLst>
              <a:ext uri="{FF2B5EF4-FFF2-40B4-BE49-F238E27FC236}">
                <a16:creationId xmlns:a16="http://schemas.microsoft.com/office/drawing/2014/main" id="{08CD0E4A-EE17-43B3-813C-CC0F856A223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47329" y="116632"/>
            <a:ext cx="9601067" cy="998984"/>
          </a:xfrm>
        </p:spPr>
        <p:txBody>
          <a:bodyPr/>
          <a:lstStyle>
            <a:lvl1pPr algn="r">
              <a:defRPr sz="3200" b="1">
                <a:solidFill>
                  <a:srgbClr val="3F464A"/>
                </a:solidFill>
              </a:defRPr>
            </a:lvl1pPr>
          </a:lstStyle>
          <a:p>
            <a:r>
              <a:rPr lang="en-US"/>
              <a:t>Click to edit Master title style</a:t>
            </a:r>
          </a:p>
        </p:txBody>
      </p:sp>
      <p:sp>
        <p:nvSpPr>
          <p:cNvPr id="6" name="Content Placeholder 2"/>
          <p:cNvSpPr>
            <a:spLocks noGrp="1"/>
          </p:cNvSpPr>
          <p:nvPr>
            <p:ph idx="1"/>
          </p:nvPr>
        </p:nvSpPr>
        <p:spPr>
          <a:xfrm>
            <a:off x="911424" y="1187624"/>
            <a:ext cx="103632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696919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5" name="Title 1"/>
          <p:cNvSpPr>
            <a:spLocks noGrp="1"/>
          </p:cNvSpPr>
          <p:nvPr>
            <p:ph type="title"/>
          </p:nvPr>
        </p:nvSpPr>
        <p:spPr>
          <a:xfrm>
            <a:off x="47329" y="116632"/>
            <a:ext cx="9601067" cy="998984"/>
          </a:xfrm>
        </p:spPr>
        <p:txBody>
          <a:bodyPr/>
          <a:lstStyle>
            <a:lvl1pPr algn="r">
              <a:defRPr sz="3200" b="1">
                <a:solidFill>
                  <a:srgbClr val="3F464A"/>
                </a:solidFill>
              </a:defRPr>
            </a:lvl1pPr>
          </a:lstStyle>
          <a:p>
            <a:r>
              <a:rPr lang="en-US"/>
              <a:t>Click to edit Master title style</a:t>
            </a:r>
          </a:p>
        </p:txBody>
      </p:sp>
      <p:sp>
        <p:nvSpPr>
          <p:cNvPr id="6" name="Content Placeholder 2"/>
          <p:cNvSpPr>
            <a:spLocks noGrp="1"/>
          </p:cNvSpPr>
          <p:nvPr>
            <p:ph idx="1"/>
          </p:nvPr>
        </p:nvSpPr>
        <p:spPr>
          <a:xfrm>
            <a:off x="911424" y="1187624"/>
            <a:ext cx="103632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51806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5" name="Title 1"/>
          <p:cNvSpPr>
            <a:spLocks noGrp="1"/>
          </p:cNvSpPr>
          <p:nvPr>
            <p:ph type="title"/>
          </p:nvPr>
        </p:nvSpPr>
        <p:spPr>
          <a:xfrm>
            <a:off x="914400" y="4679353"/>
            <a:ext cx="10363200" cy="1362075"/>
          </a:xfrm>
        </p:spPr>
        <p:txBody>
          <a:bodyPr anchor="t"/>
          <a:lstStyle>
            <a:lvl1pPr algn="l">
              <a:defRPr sz="3200" b="1" cap="all">
                <a:solidFill>
                  <a:srgbClr val="3F464A"/>
                </a:solidFill>
              </a:defRPr>
            </a:lvl1pPr>
          </a:lstStyle>
          <a:p>
            <a:r>
              <a:rPr lang="en-US" dirty="0"/>
              <a:t>Click to edit Master title style</a:t>
            </a:r>
          </a:p>
        </p:txBody>
      </p:sp>
      <p:sp>
        <p:nvSpPr>
          <p:cNvPr id="6" name="Text Placeholder 2"/>
          <p:cNvSpPr>
            <a:spLocks noGrp="1"/>
          </p:cNvSpPr>
          <p:nvPr>
            <p:ph type="body" idx="1"/>
          </p:nvPr>
        </p:nvSpPr>
        <p:spPr>
          <a:xfrm>
            <a:off x="1008063" y="3012086"/>
            <a:ext cx="10363200" cy="1500187"/>
          </a:xfrm>
        </p:spPr>
        <p:txBody>
          <a:bodyPr anchor="b"/>
          <a:lstStyle>
            <a:lvl1pPr marL="0" indent="0">
              <a:buNone/>
              <a:defRPr sz="2000">
                <a:solidFill>
                  <a:srgbClr val="3F464A"/>
                </a:solidFill>
              </a:defRPr>
            </a:lvl1pPr>
            <a:lvl2pPr marL="457189" indent="0">
              <a:buNone/>
              <a:defRPr sz="1800"/>
            </a:lvl2pPr>
            <a:lvl3pPr marL="914377" indent="0">
              <a:buNone/>
              <a:defRPr sz="1600"/>
            </a:lvl3pPr>
            <a:lvl4pPr marL="1371566" indent="0">
              <a:buNone/>
              <a:defRPr sz="1400"/>
            </a:lvl4pPr>
            <a:lvl5pPr marL="1828754" indent="0">
              <a:buNone/>
              <a:defRPr sz="1400"/>
            </a:lvl5pPr>
            <a:lvl6pPr marL="2285943" indent="0">
              <a:buNone/>
              <a:defRPr sz="1400"/>
            </a:lvl6pPr>
            <a:lvl7pPr marL="2743131" indent="0">
              <a:buNone/>
              <a:defRPr sz="1400"/>
            </a:lvl7pPr>
            <a:lvl8pPr marL="3200320" indent="0">
              <a:buNone/>
              <a:defRPr sz="1400"/>
            </a:lvl8pPr>
            <a:lvl9pPr marL="3657509" indent="0">
              <a:buNone/>
              <a:defRPr sz="1400"/>
            </a:lvl9pPr>
          </a:lstStyle>
          <a:p>
            <a:pPr lvl="0"/>
            <a:r>
              <a:rPr lang="en-US" dirty="0"/>
              <a:t>Click to edit Master text styles</a:t>
            </a:r>
          </a:p>
        </p:txBody>
      </p:sp>
    </p:spTree>
    <p:extLst>
      <p:ext uri="{BB962C8B-B14F-4D97-AF65-F5344CB8AC3E}">
        <p14:creationId xmlns:p14="http://schemas.microsoft.com/office/powerpoint/2010/main" val="10814008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6" name="Title 1"/>
          <p:cNvSpPr>
            <a:spLocks noGrp="1"/>
          </p:cNvSpPr>
          <p:nvPr>
            <p:ph type="title"/>
          </p:nvPr>
        </p:nvSpPr>
        <p:spPr>
          <a:xfrm>
            <a:off x="245304" y="116632"/>
            <a:ext cx="9402465" cy="998984"/>
          </a:xfrm>
        </p:spPr>
        <p:txBody>
          <a:bodyPr/>
          <a:lstStyle>
            <a:lvl1pPr algn="r">
              <a:defRPr sz="3200" b="1">
                <a:solidFill>
                  <a:srgbClr val="3F464A"/>
                </a:solidFill>
              </a:defRPr>
            </a:lvl1pPr>
          </a:lstStyle>
          <a:p>
            <a:r>
              <a:rPr lang="en-US"/>
              <a:t>Click to edit Master title style</a:t>
            </a:r>
          </a:p>
        </p:txBody>
      </p:sp>
      <p:sp>
        <p:nvSpPr>
          <p:cNvPr id="7" name="Content Placeholder 2"/>
          <p:cNvSpPr>
            <a:spLocks noGrp="1"/>
          </p:cNvSpPr>
          <p:nvPr>
            <p:ph sz="half" idx="1"/>
          </p:nvPr>
        </p:nvSpPr>
        <p:spPr>
          <a:xfrm>
            <a:off x="812800" y="1187624"/>
            <a:ext cx="50800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p:cNvSpPr>
            <a:spLocks noGrp="1"/>
          </p:cNvSpPr>
          <p:nvPr>
            <p:ph sz="half" idx="2"/>
          </p:nvPr>
        </p:nvSpPr>
        <p:spPr>
          <a:xfrm>
            <a:off x="6096000" y="1187624"/>
            <a:ext cx="50800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69614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1"/>
          <p:cNvSpPr>
            <a:spLocks noGrp="1"/>
          </p:cNvSpPr>
          <p:nvPr>
            <p:ph type="title"/>
          </p:nvPr>
        </p:nvSpPr>
        <p:spPr>
          <a:xfrm>
            <a:off x="245304" y="188640"/>
            <a:ext cx="9402465" cy="843880"/>
          </a:xfrm>
        </p:spPr>
        <p:txBody>
          <a:bodyPr/>
          <a:lstStyle>
            <a:lvl1pPr algn="r">
              <a:defRPr sz="3200" b="1">
                <a:solidFill>
                  <a:srgbClr val="3F464A"/>
                </a:solidFill>
              </a:defRPr>
            </a:lvl1pPr>
          </a:lstStyle>
          <a:p>
            <a:r>
              <a:rPr lang="en-US"/>
              <a:t>Click to edit Master title style</a:t>
            </a:r>
          </a:p>
        </p:txBody>
      </p:sp>
    </p:spTree>
    <p:extLst>
      <p:ext uri="{BB962C8B-B14F-4D97-AF65-F5344CB8AC3E}">
        <p14:creationId xmlns:p14="http://schemas.microsoft.com/office/powerpoint/2010/main" val="36300094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050" name="Picture 8">
            <a:extLst>
              <a:ext uri="{FF2B5EF4-FFF2-40B4-BE49-F238E27FC236}">
                <a16:creationId xmlns:a16="http://schemas.microsoft.com/office/drawing/2014/main" id="{4603664B-7766-4BDE-9841-C9981F441C2A}"/>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 name="Title Placeholder 1">
            <a:extLst>
              <a:ext uri="{FF2B5EF4-FFF2-40B4-BE49-F238E27FC236}">
                <a16:creationId xmlns:a16="http://schemas.microsoft.com/office/drawing/2014/main" id="{15357384-CB79-4326-B8DD-7D43F95719F2}"/>
              </a:ext>
            </a:extLst>
          </p:cNvPr>
          <p:cNvSpPr>
            <a:spLocks noGrp="1" noChangeArrowheads="1"/>
          </p:cNvSpPr>
          <p:nvPr>
            <p:ph type="title"/>
          </p:nvPr>
        </p:nvSpPr>
        <p:spPr bwMode="auto">
          <a:xfrm>
            <a:off x="452438" y="417513"/>
            <a:ext cx="10702925" cy="77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Page Title</a:t>
            </a:r>
            <a:endParaRPr lang="en-CA" altLang="en-US"/>
          </a:p>
        </p:txBody>
      </p:sp>
      <p:sp>
        <p:nvSpPr>
          <p:cNvPr id="2052" name="Text Placeholder 2">
            <a:extLst>
              <a:ext uri="{FF2B5EF4-FFF2-40B4-BE49-F238E27FC236}">
                <a16:creationId xmlns:a16="http://schemas.microsoft.com/office/drawing/2014/main" id="{51554D5A-C47E-4704-A6AD-9A13851BFBDF}"/>
              </a:ext>
            </a:extLst>
          </p:cNvPr>
          <p:cNvSpPr>
            <a:spLocks noGrp="1" noChangeArrowheads="1"/>
          </p:cNvSpPr>
          <p:nvPr>
            <p:ph type="body" idx="1"/>
          </p:nvPr>
        </p:nvSpPr>
        <p:spPr bwMode="auto">
          <a:xfrm>
            <a:off x="452438" y="1349375"/>
            <a:ext cx="10702925" cy="4756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Level #1</a:t>
            </a:r>
          </a:p>
          <a:p>
            <a:pPr lvl="1"/>
            <a:r>
              <a:rPr lang="en-US" altLang="en-US"/>
              <a:t>Level #2</a:t>
            </a:r>
          </a:p>
          <a:p>
            <a:pPr lvl="2"/>
            <a:r>
              <a:rPr lang="en-US" altLang="en-US"/>
              <a:t>Level #3</a:t>
            </a:r>
          </a:p>
          <a:p>
            <a:pPr lvl="3"/>
            <a:r>
              <a:rPr lang="en-US" altLang="en-US"/>
              <a:t>Level #4</a:t>
            </a:r>
          </a:p>
          <a:p>
            <a:pPr lvl="4"/>
            <a:r>
              <a:rPr lang="en-US" altLang="en-US"/>
              <a:t>Level #5</a:t>
            </a:r>
            <a:endParaRPr lang="en-CA" altLang="en-US"/>
          </a:p>
        </p:txBody>
      </p:sp>
    </p:spTree>
    <p:extLst>
      <p:ext uri="{BB962C8B-B14F-4D97-AF65-F5344CB8AC3E}">
        <p14:creationId xmlns:p14="http://schemas.microsoft.com/office/powerpoint/2010/main" val="300872555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sldNum="0" hdr="0" ftr="0" dt="0"/>
  <p:txStyles>
    <p:title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p:titleStyle>
    <p:bodyStyle>
      <a:lvl1pPr marL="360363" indent="-360363" algn="l" defTabSz="684213" rtl="0" eaLnBrk="0" fontAlgn="base" hangingPunct="0">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306" rtl="0" eaLnBrk="1" latinLnBrk="0" hangingPunct="1">
        <a:defRPr sz="1799" kern="1200">
          <a:solidFill>
            <a:schemeClr val="tx1"/>
          </a:solidFill>
          <a:latin typeface="+mn-lt"/>
          <a:ea typeface="+mn-ea"/>
          <a:cs typeface="+mn-cs"/>
        </a:defRPr>
      </a:lvl1pPr>
      <a:lvl2pPr marL="457153" algn="l" defTabSz="914306" rtl="0" eaLnBrk="1" latinLnBrk="0" hangingPunct="1">
        <a:defRPr sz="1799" kern="1200">
          <a:solidFill>
            <a:schemeClr val="tx1"/>
          </a:solidFill>
          <a:latin typeface="+mn-lt"/>
          <a:ea typeface="+mn-ea"/>
          <a:cs typeface="+mn-cs"/>
        </a:defRPr>
      </a:lvl2pPr>
      <a:lvl3pPr marL="914306" algn="l" defTabSz="914306" rtl="0" eaLnBrk="1" latinLnBrk="0" hangingPunct="1">
        <a:defRPr sz="1799" kern="1200">
          <a:solidFill>
            <a:schemeClr val="tx1"/>
          </a:solidFill>
          <a:latin typeface="+mn-lt"/>
          <a:ea typeface="+mn-ea"/>
          <a:cs typeface="+mn-cs"/>
        </a:defRPr>
      </a:lvl3pPr>
      <a:lvl4pPr marL="1371459" algn="l" defTabSz="914306" rtl="0" eaLnBrk="1" latinLnBrk="0" hangingPunct="1">
        <a:defRPr sz="1799" kern="1200">
          <a:solidFill>
            <a:schemeClr val="tx1"/>
          </a:solidFill>
          <a:latin typeface="+mn-lt"/>
          <a:ea typeface="+mn-ea"/>
          <a:cs typeface="+mn-cs"/>
        </a:defRPr>
      </a:lvl4pPr>
      <a:lvl5pPr marL="1828612" algn="l" defTabSz="914306" rtl="0" eaLnBrk="1" latinLnBrk="0" hangingPunct="1">
        <a:defRPr sz="1799" kern="1200">
          <a:solidFill>
            <a:schemeClr val="tx1"/>
          </a:solidFill>
          <a:latin typeface="+mn-lt"/>
          <a:ea typeface="+mn-ea"/>
          <a:cs typeface="+mn-cs"/>
        </a:defRPr>
      </a:lvl5pPr>
      <a:lvl6pPr marL="2285764" algn="l" defTabSz="914306" rtl="0" eaLnBrk="1" latinLnBrk="0" hangingPunct="1">
        <a:defRPr sz="1799" kern="1200">
          <a:solidFill>
            <a:schemeClr val="tx1"/>
          </a:solidFill>
          <a:latin typeface="+mn-lt"/>
          <a:ea typeface="+mn-ea"/>
          <a:cs typeface="+mn-cs"/>
        </a:defRPr>
      </a:lvl6pPr>
      <a:lvl7pPr marL="2742918" algn="l" defTabSz="914306" rtl="0" eaLnBrk="1" latinLnBrk="0" hangingPunct="1">
        <a:defRPr sz="1799" kern="1200">
          <a:solidFill>
            <a:schemeClr val="tx1"/>
          </a:solidFill>
          <a:latin typeface="+mn-lt"/>
          <a:ea typeface="+mn-ea"/>
          <a:cs typeface="+mn-cs"/>
        </a:defRPr>
      </a:lvl7pPr>
      <a:lvl8pPr marL="3200071" algn="l" defTabSz="914306" rtl="0" eaLnBrk="1" latinLnBrk="0" hangingPunct="1">
        <a:defRPr sz="1799" kern="1200">
          <a:solidFill>
            <a:schemeClr val="tx1"/>
          </a:solidFill>
          <a:latin typeface="+mn-lt"/>
          <a:ea typeface="+mn-ea"/>
          <a:cs typeface="+mn-cs"/>
        </a:defRPr>
      </a:lvl8pPr>
      <a:lvl9pPr marL="3657224" algn="l" defTabSz="914306"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xml"/><Relationship Id="rId1" Type="http://schemas.openxmlformats.org/officeDocument/2006/relationships/slideLayout" Target="../slideLayouts/slideLayout9.xml"/><Relationship Id="rId5" Type="http://schemas.microsoft.com/office/2007/relationships/hdphoto" Target="../media/hdphoto1.wdp"/><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4.svg"/><Relationship Id="rId7" Type="http://schemas.openxmlformats.org/officeDocument/2006/relationships/image" Target="../media/image52.svg"/><Relationship Id="rId2" Type="http://schemas.openxmlformats.org/officeDocument/2006/relationships/image" Target="../media/image23.png"/><Relationship Id="rId1" Type="http://schemas.openxmlformats.org/officeDocument/2006/relationships/slideLayout" Target="../slideLayouts/slideLayout9.xml"/><Relationship Id="rId6" Type="http://schemas.openxmlformats.org/officeDocument/2006/relationships/image" Target="../media/image51.png"/><Relationship Id="rId5" Type="http://schemas.openxmlformats.org/officeDocument/2006/relationships/image" Target="../media/image50.svg"/><Relationship Id="rId4" Type="http://schemas.openxmlformats.org/officeDocument/2006/relationships/image" Target="../media/image49.png"/></Relationships>
</file>

<file path=ppt/slides/_rels/slide12.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54.svg"/><Relationship Id="rId7" Type="http://schemas.openxmlformats.org/officeDocument/2006/relationships/image" Target="../media/image48.svg"/><Relationship Id="rId2" Type="http://schemas.openxmlformats.org/officeDocument/2006/relationships/image" Target="../media/image53.png"/><Relationship Id="rId1" Type="http://schemas.openxmlformats.org/officeDocument/2006/relationships/slideLayout" Target="../slideLayouts/slideLayout9.xml"/><Relationship Id="rId6" Type="http://schemas.openxmlformats.org/officeDocument/2006/relationships/image" Target="../media/image47.png"/><Relationship Id="rId5" Type="http://schemas.openxmlformats.org/officeDocument/2006/relationships/image" Target="../media/image44.svg"/><Relationship Id="rId10" Type="http://schemas.openxmlformats.org/officeDocument/2006/relationships/image" Target="../media/image56.svg"/><Relationship Id="rId4" Type="http://schemas.openxmlformats.org/officeDocument/2006/relationships/image" Target="../media/image43.png"/><Relationship Id="rId9" Type="http://schemas.openxmlformats.org/officeDocument/2006/relationships/image" Target="../media/image55.png"/></Relationships>
</file>

<file path=ppt/slides/_rels/slide13.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58.svg"/><Relationship Id="rId7" Type="http://schemas.openxmlformats.org/officeDocument/2006/relationships/image" Target="../media/image60.svg"/><Relationship Id="rId2" Type="http://schemas.openxmlformats.org/officeDocument/2006/relationships/image" Target="../media/image57.png"/><Relationship Id="rId1" Type="http://schemas.openxmlformats.org/officeDocument/2006/relationships/slideLayout" Target="../slideLayouts/slideLayout9.xml"/><Relationship Id="rId6" Type="http://schemas.openxmlformats.org/officeDocument/2006/relationships/image" Target="../media/image59.png"/><Relationship Id="rId5" Type="http://schemas.openxmlformats.org/officeDocument/2006/relationships/image" Target="../media/image46.svg"/><Relationship Id="rId10" Type="http://schemas.openxmlformats.org/officeDocument/2006/relationships/image" Target="../media/image62.svg"/><Relationship Id="rId4" Type="http://schemas.openxmlformats.org/officeDocument/2006/relationships/image" Target="../media/image45.png"/><Relationship Id="rId9" Type="http://schemas.openxmlformats.org/officeDocument/2006/relationships/image" Target="../media/image61.png"/></Relationships>
</file>

<file path=ppt/slides/_rels/slide1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33.png"/><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4.png"/><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chart" Target="../charts/chart4.xml"/><Relationship Id="rId1" Type="http://schemas.openxmlformats.org/officeDocument/2006/relationships/slideLayout" Target="../slideLayouts/slideLayout9.xml"/><Relationship Id="rId4" Type="http://schemas.openxmlformats.org/officeDocument/2006/relationships/chart" Target="../charts/char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Layout" Target="../slideLayouts/slideLayout9.xml"/><Relationship Id="rId5" Type="http://schemas.openxmlformats.org/officeDocument/2006/relationships/image" Target="../media/image14.svg"/><Relationship Id="rId4" Type="http://schemas.openxmlformats.org/officeDocument/2006/relationships/image" Target="../media/image13.png"/></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chart" Target="../charts/chart1.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Layout" Target="../slideLayouts/slideLayout9.xml"/><Relationship Id="rId4" Type="http://schemas.openxmlformats.org/officeDocument/2006/relationships/image" Target="../media/image18.jpeg"/></Relationships>
</file>

<file path=ppt/slides/_rels/slide5.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svg"/><Relationship Id="rId3" Type="http://schemas.openxmlformats.org/officeDocument/2006/relationships/image" Target="../media/image20.svg"/><Relationship Id="rId7" Type="http://schemas.openxmlformats.org/officeDocument/2006/relationships/image" Target="../media/image24.svg"/><Relationship Id="rId12" Type="http://schemas.openxmlformats.org/officeDocument/2006/relationships/image" Target="../media/image29.png"/><Relationship Id="rId2" Type="http://schemas.openxmlformats.org/officeDocument/2006/relationships/image" Target="../media/image19.png"/><Relationship Id="rId1" Type="http://schemas.openxmlformats.org/officeDocument/2006/relationships/slideLayout" Target="../slideLayouts/slideLayout9.xml"/><Relationship Id="rId6" Type="http://schemas.openxmlformats.org/officeDocument/2006/relationships/image" Target="../media/image23.png"/><Relationship Id="rId11" Type="http://schemas.openxmlformats.org/officeDocument/2006/relationships/image" Target="../media/image28.svg"/><Relationship Id="rId5" Type="http://schemas.openxmlformats.org/officeDocument/2006/relationships/image" Target="../media/image22.svg"/><Relationship Id="rId10" Type="http://schemas.openxmlformats.org/officeDocument/2006/relationships/image" Target="../media/image27.png"/><Relationship Id="rId4" Type="http://schemas.openxmlformats.org/officeDocument/2006/relationships/image" Target="../media/image21.png"/><Relationship Id="rId9" Type="http://schemas.openxmlformats.org/officeDocument/2006/relationships/image" Target="../media/image26.svg"/></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chart" Target="../charts/chart2.xml"/><Relationship Id="rId1" Type="http://schemas.openxmlformats.org/officeDocument/2006/relationships/slideLayout" Target="../slideLayouts/slideLayout9.xml"/><Relationship Id="rId4" Type="http://schemas.openxmlformats.org/officeDocument/2006/relationships/chart" Target="../charts/chart3.xml"/></Relationships>
</file>

<file path=ppt/slides/_rels/slide7.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Layout" Target="../slideLayouts/slideLayout9.xml"/><Relationship Id="rId4" Type="http://schemas.openxmlformats.org/officeDocument/2006/relationships/image" Target="../media/image33.png"/></Relationships>
</file>

<file path=ppt/slides/_rels/slide8.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18.jpeg"/><Relationship Id="rId7" Type="http://schemas.openxmlformats.org/officeDocument/2006/relationships/image" Target="../media/image38.svg"/><Relationship Id="rId2" Type="http://schemas.openxmlformats.org/officeDocument/2006/relationships/image" Target="../media/image34.jpg"/><Relationship Id="rId1" Type="http://schemas.openxmlformats.org/officeDocument/2006/relationships/slideLayout" Target="../slideLayouts/slideLayout9.xml"/><Relationship Id="rId6" Type="http://schemas.openxmlformats.org/officeDocument/2006/relationships/image" Target="../media/image37.png"/><Relationship Id="rId11" Type="http://schemas.openxmlformats.org/officeDocument/2006/relationships/image" Target="../media/image42.svg"/><Relationship Id="rId5" Type="http://schemas.openxmlformats.org/officeDocument/2006/relationships/image" Target="../media/image36.svg"/><Relationship Id="rId10" Type="http://schemas.openxmlformats.org/officeDocument/2006/relationships/image" Target="../media/image41.png"/><Relationship Id="rId4" Type="http://schemas.openxmlformats.org/officeDocument/2006/relationships/image" Target="../media/image35.png"/><Relationship Id="rId9" Type="http://schemas.openxmlformats.org/officeDocument/2006/relationships/image" Target="../media/image40.svg"/></Relationships>
</file>

<file path=ppt/slides/_rels/slide9.xml.rels><?xml version="1.0" encoding="UTF-8" standalone="yes"?>
<Relationships xmlns="http://schemas.openxmlformats.org/package/2006/relationships"><Relationship Id="rId8" Type="http://schemas.openxmlformats.org/officeDocument/2006/relationships/image" Target="../media/image48.sv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image" Target="../media/image18.jpeg"/><Relationship Id="rId1" Type="http://schemas.openxmlformats.org/officeDocument/2006/relationships/slideLayout" Target="../slideLayouts/slideLayout9.xml"/><Relationship Id="rId6" Type="http://schemas.openxmlformats.org/officeDocument/2006/relationships/image" Target="../media/image46.svg"/><Relationship Id="rId5" Type="http://schemas.openxmlformats.org/officeDocument/2006/relationships/image" Target="../media/image45.png"/><Relationship Id="rId4" Type="http://schemas.openxmlformats.org/officeDocument/2006/relationships/image" Target="../media/image44.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3" name="Picture 522" descr="A picture containing floor, indoor, room, ceiling&#10;&#10;Description automatically generated">
            <a:extLst>
              <a:ext uri="{FF2B5EF4-FFF2-40B4-BE49-F238E27FC236}">
                <a16:creationId xmlns:a16="http://schemas.microsoft.com/office/drawing/2014/main" id="{955E55EA-AE1E-B0AA-41DC-47EC55C7F6EF}"/>
              </a:ext>
            </a:extLst>
          </p:cNvPr>
          <p:cNvPicPr>
            <a:picLocks noChangeAspect="1"/>
          </p:cNvPicPr>
          <p:nvPr/>
        </p:nvPicPr>
        <p:blipFill rotWithShape="1">
          <a:blip r:embed="rId3">
            <a:extLst>
              <a:ext uri="{28A0092B-C50C-407E-A947-70E740481C1C}">
                <a14:useLocalDpi xmlns:a14="http://schemas.microsoft.com/office/drawing/2010/main" val="0"/>
              </a:ext>
            </a:extLst>
          </a:blip>
          <a:srcRect l="1" t="11314" r="4" b="13185"/>
          <a:stretch/>
        </p:blipFill>
        <p:spPr>
          <a:xfrm flipH="1">
            <a:off x="0" y="-9731"/>
            <a:ext cx="12192001" cy="6144758"/>
          </a:xfrm>
          <a:prstGeom prst="rect">
            <a:avLst/>
          </a:prstGeom>
        </p:spPr>
      </p:pic>
      <p:sp>
        <p:nvSpPr>
          <p:cNvPr id="524" name="Rectangle 523">
            <a:extLst>
              <a:ext uri="{FF2B5EF4-FFF2-40B4-BE49-F238E27FC236}">
                <a16:creationId xmlns:a16="http://schemas.microsoft.com/office/drawing/2014/main" id="{A954E26D-CFE1-223A-36E0-A277F773D228}"/>
              </a:ext>
            </a:extLst>
          </p:cNvPr>
          <p:cNvSpPr/>
          <p:nvPr/>
        </p:nvSpPr>
        <p:spPr>
          <a:xfrm>
            <a:off x="-4" y="0"/>
            <a:ext cx="12192004" cy="6135027"/>
          </a:xfrm>
          <a:prstGeom prst="rect">
            <a:avLst/>
          </a:prstGeom>
          <a:gradFill flip="none" rotWithShape="1">
            <a:gsLst>
              <a:gs pos="1000">
                <a:schemeClr val="tx1">
                  <a:alpha val="94000"/>
                </a:schemeClr>
              </a:gs>
              <a:gs pos="15000">
                <a:srgbClr val="1B1B1B">
                  <a:alpha val="80000"/>
                </a:srgbClr>
              </a:gs>
              <a:gs pos="54000">
                <a:srgbClr val="101010">
                  <a:alpha val="60000"/>
                </a:srgbClr>
              </a:gs>
              <a:gs pos="64000">
                <a:schemeClr val="tx1">
                  <a:lumMod val="85000"/>
                  <a:lumOff val="15000"/>
                  <a:alpha val="50000"/>
                </a:schemeClr>
              </a:gs>
              <a:gs pos="100000">
                <a:schemeClr val="tx1">
                  <a:lumMod val="75000"/>
                  <a:lumOff val="25000"/>
                  <a:alpha val="0"/>
                </a:schemeClr>
              </a:gs>
              <a:gs pos="82000">
                <a:schemeClr val="tx1">
                  <a:lumMod val="75000"/>
                  <a:lumOff val="25000"/>
                  <a:alpha val="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25" name="Title 1">
            <a:extLst>
              <a:ext uri="{FF2B5EF4-FFF2-40B4-BE49-F238E27FC236}">
                <a16:creationId xmlns:a16="http://schemas.microsoft.com/office/drawing/2014/main" id="{1075EFC6-858B-9EF9-577B-63F79BA004FA}"/>
              </a:ext>
            </a:extLst>
          </p:cNvPr>
          <p:cNvSpPr txBox="1">
            <a:spLocks/>
          </p:cNvSpPr>
          <p:nvPr/>
        </p:nvSpPr>
        <p:spPr bwMode="auto">
          <a:xfrm>
            <a:off x="511883" y="2600142"/>
            <a:ext cx="11417847" cy="2083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r" defTabSz="912813" rtl="0" eaLnBrk="0" fontAlgn="base" hangingPunct="0">
              <a:lnSpc>
                <a:spcPct val="90000"/>
              </a:lnSpc>
              <a:spcBef>
                <a:spcPct val="0"/>
              </a:spcBef>
              <a:spcAft>
                <a:spcPct val="0"/>
              </a:spcAft>
              <a:defRPr sz="3200" b="1" kern="1200">
                <a:solidFill>
                  <a:srgbClr val="3F464A"/>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en-CA" sz="3200" b="0" i="0" u="none" strike="noStrike" kern="1200" cap="none" spc="0" normalizeH="0" baseline="0" noProof="0" dirty="0">
                <a:ln>
                  <a:noFill/>
                </a:ln>
                <a:solidFill>
                  <a:srgbClr val="F1F2F2"/>
                </a:solidFill>
                <a:effectLst>
                  <a:outerShdw blurRad="114300" dist="63500" algn="ctr" rotWithShape="0">
                    <a:prstClr val="black">
                      <a:alpha val="61000"/>
                    </a:prstClr>
                  </a:outerShdw>
                </a:effectLst>
                <a:uLnTx/>
                <a:uFillTx/>
                <a:latin typeface="Arial"/>
                <a:ea typeface="+mj-ea"/>
                <a:cs typeface="+mj-cs"/>
              </a:rPr>
              <a:t>SPACE BOOKING CONSIDERATIONS</a:t>
            </a:r>
            <a:br>
              <a:rPr kumimoji="0" lang="en-CA" sz="3200" b="1" i="0" u="none" strike="noStrike" kern="1200" cap="none" spc="0" normalizeH="0" baseline="0" noProof="0" dirty="0">
                <a:ln>
                  <a:noFill/>
                </a:ln>
                <a:solidFill>
                  <a:srgbClr val="F1F2F2"/>
                </a:solidFill>
                <a:effectLst>
                  <a:outerShdw blurRad="114300" dist="63500" algn="ctr" rotWithShape="0">
                    <a:prstClr val="black">
                      <a:alpha val="61000"/>
                    </a:prstClr>
                  </a:outerShdw>
                </a:effectLst>
                <a:uLnTx/>
                <a:uFillTx/>
                <a:latin typeface="Arial"/>
                <a:ea typeface="+mj-ea"/>
                <a:cs typeface="+mj-cs"/>
              </a:rPr>
            </a:br>
            <a:r>
              <a:rPr kumimoji="0" lang="en-CA" sz="2800" b="1" i="0" u="none" strike="noStrike" kern="1200" cap="none" spc="0" normalizeH="0" baseline="0" noProof="0" dirty="0">
                <a:ln>
                  <a:noFill/>
                </a:ln>
                <a:solidFill>
                  <a:srgbClr val="F1F2F2"/>
                </a:solidFill>
                <a:effectLst>
                  <a:outerShdw blurRad="114300" dist="63500" algn="ctr" rotWithShape="0">
                    <a:prstClr val="black">
                      <a:alpha val="61000"/>
                    </a:prstClr>
                  </a:outerShdw>
                </a:effectLst>
                <a:uLnTx/>
                <a:uFillTx/>
                <a:latin typeface="Arial"/>
                <a:ea typeface="+mj-ea"/>
                <a:cs typeface="+mj-cs"/>
              </a:rPr>
              <a:t>For a Hybrid Return to Office</a:t>
            </a:r>
            <a:endParaRPr kumimoji="0" lang="en-US" sz="2000" b="1" i="0" u="none" strike="noStrike" kern="1200" cap="none" spc="0" normalizeH="0" baseline="0" noProof="0" dirty="0">
              <a:ln>
                <a:noFill/>
              </a:ln>
              <a:solidFill>
                <a:srgbClr val="3F464A"/>
              </a:solidFill>
              <a:effectLst>
                <a:outerShdw blurRad="114300" dist="63500" algn="ctr" rotWithShape="0">
                  <a:prstClr val="black">
                    <a:alpha val="61000"/>
                  </a:prstClr>
                </a:outerShdw>
              </a:effectLst>
              <a:uLnTx/>
              <a:uFillTx/>
              <a:latin typeface="Arial"/>
              <a:ea typeface="+mj-ea"/>
              <a:cs typeface="+mj-cs"/>
            </a:endParaRPr>
          </a:p>
        </p:txBody>
      </p:sp>
      <p:sp>
        <p:nvSpPr>
          <p:cNvPr id="526" name="Subtitle 2">
            <a:extLst>
              <a:ext uri="{FF2B5EF4-FFF2-40B4-BE49-F238E27FC236}">
                <a16:creationId xmlns:a16="http://schemas.microsoft.com/office/drawing/2014/main" id="{A3B7BB03-4D98-13DA-4B79-F31324BAFB36}"/>
              </a:ext>
            </a:extLst>
          </p:cNvPr>
          <p:cNvSpPr txBox="1">
            <a:spLocks/>
          </p:cNvSpPr>
          <p:nvPr/>
        </p:nvSpPr>
        <p:spPr>
          <a:xfrm>
            <a:off x="434064" y="3611158"/>
            <a:ext cx="11065209" cy="678352"/>
          </a:xfrm>
          <a:prstGeom prst="rect">
            <a:avLst/>
          </a:prstGeom>
        </p:spPr>
        <p:txBody>
          <a:bodyPr>
            <a:normAutofit lnSpcReduction="10000"/>
          </a:bodyPr>
          <a:lstStyle>
            <a:lvl1pPr marL="360363" indent="-360363" algn="l" defTabSz="684213" rtl="0" eaLnBrk="0" fontAlgn="base" hangingPunct="0">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marR="0" lvl="0" indent="0" algn="l" defTabSz="684213" rtl="0" eaLnBrk="0" fontAlgn="base" latinLnBrk="0" hangingPunct="0">
              <a:lnSpc>
                <a:spcPct val="100000"/>
              </a:lnSpc>
              <a:spcBef>
                <a:spcPts val="750"/>
              </a:spcBef>
              <a:spcAft>
                <a:spcPct val="0"/>
              </a:spcAft>
              <a:buClrTx/>
              <a:buSzPct val="100000"/>
              <a:buFont typeface="Wingdings 2" panose="05020102010507070707" pitchFamily="18" charset="2"/>
              <a:buNone/>
              <a:tabLst/>
              <a:defRPr/>
            </a:pPr>
            <a:r>
              <a:rPr kumimoji="0" lang="en-CA" sz="2000" b="1" i="0" u="none" strike="noStrike" kern="1200" cap="none" spc="0" normalizeH="0" baseline="0" noProof="0" dirty="0">
                <a:ln>
                  <a:noFill/>
                </a:ln>
                <a:solidFill>
                  <a:srgbClr val="49B19D"/>
                </a:solidFill>
                <a:effectLst>
                  <a:outerShdw blurRad="63500" sx="102000" sy="102000" algn="ctr" rotWithShape="0">
                    <a:prstClr val="black">
                      <a:alpha val="40000"/>
                    </a:prstClr>
                  </a:outerShdw>
                </a:effectLst>
                <a:uLnTx/>
                <a:uFillTx/>
                <a:latin typeface="Arial"/>
                <a:ea typeface="+mn-ea"/>
                <a:cs typeface="+mn-cs"/>
              </a:rPr>
              <a:t>Presented by: SWAG </a:t>
            </a:r>
            <a:r>
              <a:rPr kumimoji="0" lang="en-CA" sz="2000" b="0" i="0" u="none" strike="noStrike" kern="1200" cap="none" spc="0" normalizeH="0" baseline="0" noProof="0" dirty="0">
                <a:ln>
                  <a:noFill/>
                </a:ln>
                <a:solidFill>
                  <a:srgbClr val="49B19D"/>
                </a:solidFill>
                <a:effectLst>
                  <a:outerShdw blurRad="63500" sx="102000" sy="102000" algn="ctr" rotWithShape="0">
                    <a:prstClr val="black">
                      <a:alpha val="40000"/>
                    </a:prstClr>
                  </a:outerShdw>
                </a:effectLst>
                <a:uLnTx/>
                <a:uFillTx/>
                <a:latin typeface="Arial"/>
                <a:ea typeface="+mn-ea"/>
                <a:cs typeface="+mn-cs"/>
              </a:rPr>
              <a:t>(Strategic Workplace Advisory Group)</a:t>
            </a:r>
            <a:br>
              <a:rPr kumimoji="0" lang="en-CA" sz="2000" b="0" i="0" u="none" strike="noStrike" kern="1200" cap="none" spc="0" normalizeH="0" baseline="0" noProof="0" dirty="0">
                <a:ln>
                  <a:noFill/>
                </a:ln>
                <a:solidFill>
                  <a:srgbClr val="49B19D"/>
                </a:solidFill>
                <a:effectLst>
                  <a:outerShdw blurRad="63500" sx="102000" sy="102000" algn="ctr" rotWithShape="0">
                    <a:prstClr val="black">
                      <a:alpha val="40000"/>
                    </a:prstClr>
                  </a:outerShdw>
                </a:effectLst>
                <a:uLnTx/>
                <a:uFillTx/>
                <a:latin typeface="Arial"/>
                <a:ea typeface="+mn-ea"/>
                <a:cs typeface="+mn-cs"/>
              </a:rPr>
            </a:br>
            <a:endParaRPr kumimoji="0" lang="en-US" sz="2000" b="0" i="0" u="none" strike="noStrike" kern="1200" cap="none" spc="0" normalizeH="0" baseline="0" noProof="0" dirty="0">
              <a:ln>
                <a:noFill/>
              </a:ln>
              <a:solidFill>
                <a:srgbClr val="49B19D"/>
              </a:solidFill>
              <a:effectLst>
                <a:outerShdw blurRad="63500" sx="102000" sy="102000" algn="ctr" rotWithShape="0">
                  <a:prstClr val="black">
                    <a:alpha val="40000"/>
                  </a:prstClr>
                </a:outerShdw>
              </a:effectLst>
              <a:uLnTx/>
              <a:uFillTx/>
              <a:latin typeface="Arial"/>
              <a:ea typeface="+mn-ea"/>
              <a:cs typeface="+mn-cs"/>
            </a:endParaRPr>
          </a:p>
        </p:txBody>
      </p:sp>
      <p:sp>
        <p:nvSpPr>
          <p:cNvPr id="527" name="Text Placeholder 4">
            <a:extLst>
              <a:ext uri="{FF2B5EF4-FFF2-40B4-BE49-F238E27FC236}">
                <a16:creationId xmlns:a16="http://schemas.microsoft.com/office/drawing/2014/main" id="{7FC41104-5686-BAE3-6527-CD2437206A46}"/>
              </a:ext>
            </a:extLst>
          </p:cNvPr>
          <p:cNvSpPr txBox="1">
            <a:spLocks/>
          </p:cNvSpPr>
          <p:nvPr/>
        </p:nvSpPr>
        <p:spPr>
          <a:xfrm>
            <a:off x="434063" y="4253333"/>
            <a:ext cx="3494087" cy="526957"/>
          </a:xfrm>
          <a:prstGeom prst="rect">
            <a:avLst/>
          </a:prstGeom>
        </p:spPr>
        <p:txBody>
          <a:bodyPr/>
          <a:lstStyle>
            <a:lvl1pPr marL="360363" indent="-360363" algn="l" defTabSz="684213" rtl="0" eaLnBrk="0" fontAlgn="base" hangingPunct="0">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marR="0" lvl="0" indent="0" algn="l" defTabSz="684213" rtl="0" eaLnBrk="0" fontAlgn="base" latinLnBrk="0" hangingPunct="0">
              <a:lnSpc>
                <a:spcPct val="100000"/>
              </a:lnSpc>
              <a:spcBef>
                <a:spcPts val="750"/>
              </a:spcBef>
              <a:spcAft>
                <a:spcPct val="0"/>
              </a:spcAft>
              <a:buClrTx/>
              <a:buSzPct val="100000"/>
              <a:buFont typeface="Wingdings 2" panose="05020102010507070707" pitchFamily="18" charset="2"/>
              <a:buNone/>
              <a:tabLst/>
              <a:defRPr/>
            </a:pPr>
            <a:r>
              <a:rPr kumimoji="0" lang="en-US" sz="1400" b="1" i="0" u="none" strike="noStrike" kern="1200" cap="none" spc="0" normalizeH="0" baseline="0" noProof="0" dirty="0">
                <a:ln>
                  <a:noFill/>
                </a:ln>
                <a:solidFill>
                  <a:srgbClr val="F1F2F2"/>
                </a:solidFill>
                <a:effectLst/>
                <a:uLnTx/>
                <a:uFillTx/>
                <a:latin typeface="Arial"/>
                <a:ea typeface="+mn-ea"/>
                <a:cs typeface="+mn-cs"/>
              </a:rPr>
              <a:t>February 2023</a:t>
            </a:r>
          </a:p>
        </p:txBody>
      </p:sp>
      <p:pic>
        <p:nvPicPr>
          <p:cNvPr id="529" name="Picture 528">
            <a:extLst>
              <a:ext uri="{FF2B5EF4-FFF2-40B4-BE49-F238E27FC236}">
                <a16:creationId xmlns:a16="http://schemas.microsoft.com/office/drawing/2014/main" id="{FB3779EE-32AD-FD73-8267-58B1EDB6EB64}"/>
              </a:ext>
            </a:extLst>
          </p:cNvPr>
          <p:cNvPicPr>
            <a:picLocks noChangeAspect="1"/>
          </p:cNvPicPr>
          <p:nvPr/>
        </p:nvPicPr>
        <p:blipFill>
          <a:blip r:embed="rId4" cstate="print">
            <a:extLst>
              <a:ext uri="{BEBA8EAE-BF5A-486C-A8C5-ECC9F3942E4B}">
                <a14:imgProps xmlns:a14="http://schemas.microsoft.com/office/drawing/2010/main">
                  <a14:imgLayer r:embed="rId5">
                    <a14:imgEffect>
                      <a14:saturation sat="33000"/>
                    </a14:imgEffect>
                  </a14:imgLayer>
                </a14:imgProps>
              </a:ext>
              <a:ext uri="{28A0092B-C50C-407E-A947-70E740481C1C}">
                <a14:useLocalDpi xmlns:a14="http://schemas.microsoft.com/office/drawing/2010/main" val="0"/>
              </a:ext>
            </a:extLst>
          </a:blip>
          <a:stretch>
            <a:fillRect/>
          </a:stretch>
        </p:blipFill>
        <p:spPr>
          <a:xfrm>
            <a:off x="563399" y="306123"/>
            <a:ext cx="2316367" cy="646913"/>
          </a:xfrm>
          <a:prstGeom prst="rect">
            <a:avLst/>
          </a:prstGeom>
        </p:spPr>
      </p:pic>
    </p:spTree>
    <p:extLst>
      <p:ext uri="{BB962C8B-B14F-4D97-AF65-F5344CB8AC3E}">
        <p14:creationId xmlns:p14="http://schemas.microsoft.com/office/powerpoint/2010/main" val="34425156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C893776F-29BA-7D4E-5BC2-601EF7B36EEF}"/>
              </a:ext>
            </a:extLst>
          </p:cNvPr>
          <p:cNvSpPr>
            <a:spLocks noGrp="1"/>
          </p:cNvSpPr>
          <p:nvPr>
            <p:ph type="title"/>
          </p:nvPr>
        </p:nvSpPr>
        <p:spPr>
          <a:xfrm>
            <a:off x="245304" y="188640"/>
            <a:ext cx="9402465" cy="843880"/>
          </a:xfrm>
        </p:spPr>
        <p:txBody>
          <a:bodyPr anchor="ctr"/>
          <a:lstStyle/>
          <a:p>
            <a:pPr algn="l"/>
            <a:r>
              <a:rPr lang="en-US" sz="2800" b="0" dirty="0">
                <a:solidFill>
                  <a:srgbClr val="000000"/>
                </a:solidFill>
                <a:latin typeface="Avenir Next LT Pro Demi" panose="020B0704020202020204" pitchFamily="34" charset="0"/>
                <a:cs typeface="Arial" panose="020B0604020202020204" pitchFamily="34" charset="0"/>
              </a:rPr>
              <a:t>Shift in Mindset from “</a:t>
            </a:r>
            <a:r>
              <a:rPr kumimoji="0" lang="en-US" sz="2800" b="0" u="none" strike="noStrike" kern="1200" cap="none" spc="0" normalizeH="0" noProof="0" dirty="0">
                <a:ln>
                  <a:noFill/>
                </a:ln>
                <a:solidFill>
                  <a:srgbClr val="000000"/>
                </a:solidFill>
                <a:effectLst/>
                <a:uLnTx/>
                <a:uFillTx/>
                <a:latin typeface="Avenir Next LT Pro Demi" panose="020B0704020202020204" pitchFamily="34" charset="0"/>
                <a:cs typeface="Arial" panose="020B0604020202020204" pitchFamily="34" charset="0"/>
              </a:rPr>
              <a:t>Me Space” to “We Space”</a:t>
            </a:r>
            <a:endParaRPr lang="en-CA" sz="2800" dirty="0">
              <a:latin typeface="Avenir Next LT Pro Demi" panose="020B0704020202020204" pitchFamily="34" charset="0"/>
            </a:endParaRPr>
          </a:p>
        </p:txBody>
      </p:sp>
      <p:sp>
        <p:nvSpPr>
          <p:cNvPr id="141" name="TextBox 140">
            <a:extLst>
              <a:ext uri="{FF2B5EF4-FFF2-40B4-BE49-F238E27FC236}">
                <a16:creationId xmlns:a16="http://schemas.microsoft.com/office/drawing/2014/main" id="{6A9C6D9B-C617-8781-867B-4468651E4368}"/>
              </a:ext>
            </a:extLst>
          </p:cNvPr>
          <p:cNvSpPr txBox="1"/>
          <p:nvPr/>
        </p:nvSpPr>
        <p:spPr>
          <a:xfrm>
            <a:off x="0" y="1032520"/>
            <a:ext cx="4377401" cy="4682480"/>
          </a:xfrm>
          <a:prstGeom prst="rect">
            <a:avLst/>
          </a:prstGeom>
          <a:solidFill>
            <a:srgbClr val="FFFFFF"/>
          </a:solidFill>
          <a:ln>
            <a:noFill/>
          </a:ln>
        </p:spPr>
        <p:txBody>
          <a:bodyPr wrap="square" lIns="360000" tIns="252000" rIns="252000" bIns="252000" rtlCol="0" anchor="ctr" anchorCtr="0">
            <a:noAutofit/>
          </a:bodyPr>
          <a:lstStyle/>
          <a:p>
            <a:pPr marL="0" marR="0" lvl="0" indent="0" algn="l" defTabSz="914400" rtl="0" eaLnBrk="0" fontAlgn="base" latinLnBrk="0" hangingPunct="0">
              <a:lnSpc>
                <a:spcPts val="3000"/>
              </a:lnSpc>
              <a:spcBef>
                <a:spcPct val="0"/>
              </a:spcBef>
              <a:spcAft>
                <a:spcPct val="0"/>
              </a:spcAft>
              <a:buClrTx/>
              <a:buSzTx/>
              <a:buFontTx/>
              <a:buNone/>
              <a:tabLst/>
              <a:defRPr/>
            </a:pPr>
            <a:r>
              <a:rPr kumimoji="0" lang="en-CA" sz="18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rPr>
              <a:t>With an equal access, unassigned use of space, as well as a ‘one-</a:t>
            </a:r>
            <a:r>
              <a:rPr kumimoji="0" lang="en-CA" sz="1800" b="0" i="0" u="none" strike="noStrike" kern="1200" cap="none" spc="0" normalizeH="0" baseline="0" noProof="0" dirty="0">
                <a:ln>
                  <a:noFill/>
                </a:ln>
                <a:solidFill>
                  <a:srgbClr val="409786"/>
                </a:solidFill>
                <a:effectLst/>
                <a:uLnTx/>
                <a:uFillTx/>
                <a:latin typeface="Avenir Next LT Pro Demi" panose="020B0704020202020204" pitchFamily="34" charset="0"/>
                <a:ea typeface="+mn-ea"/>
                <a:cs typeface="+mn-cs"/>
              </a:rPr>
              <a:t>workpoint</a:t>
            </a:r>
            <a:r>
              <a:rPr kumimoji="0" lang="en-CA" sz="18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rPr>
              <a:t>-at-a-time’ etiquette, GCworkplace provides an almost 2:1 ratio of total </a:t>
            </a:r>
            <a:r>
              <a:rPr kumimoji="0" lang="en-CA" sz="1800" b="0" i="0" u="none" strike="noStrike" kern="1200" cap="none" spc="0" normalizeH="0" baseline="0" noProof="0" dirty="0">
                <a:ln>
                  <a:noFill/>
                </a:ln>
                <a:solidFill>
                  <a:srgbClr val="409786"/>
                </a:solidFill>
                <a:effectLst/>
                <a:uLnTx/>
                <a:uFillTx/>
                <a:latin typeface="Avenir Next LT Pro Demi" panose="020B0704020202020204" pitchFamily="34" charset="0"/>
                <a:ea typeface="+mn-ea"/>
                <a:cs typeface="+mn-cs"/>
              </a:rPr>
              <a:t>workpoints</a:t>
            </a:r>
            <a:r>
              <a:rPr kumimoji="0" lang="en-CA" sz="18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rPr>
              <a:t> (from all categories) to target onsite occupancy; meaning there will always be ample variety of available </a:t>
            </a:r>
            <a:r>
              <a:rPr kumimoji="0" lang="en-CA" sz="1800" b="0" i="0" u="none" strike="noStrike" kern="1200" cap="none" spc="0" normalizeH="0" baseline="0" noProof="0" dirty="0">
                <a:ln>
                  <a:noFill/>
                </a:ln>
                <a:solidFill>
                  <a:srgbClr val="409786"/>
                </a:solidFill>
                <a:effectLst/>
                <a:uLnTx/>
                <a:uFillTx/>
                <a:latin typeface="Avenir Next LT Pro Demi" panose="020B0704020202020204" pitchFamily="34" charset="0"/>
                <a:ea typeface="+mn-ea"/>
                <a:cs typeface="+mn-cs"/>
              </a:rPr>
              <a:t>workpoints</a:t>
            </a:r>
            <a:r>
              <a:rPr kumimoji="0" lang="en-CA" sz="18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rPr>
              <a:t> to be used by its onsite occupants.</a:t>
            </a:r>
          </a:p>
        </p:txBody>
      </p:sp>
      <p:sp>
        <p:nvSpPr>
          <p:cNvPr id="143" name="Rectangle 142">
            <a:extLst>
              <a:ext uri="{FF2B5EF4-FFF2-40B4-BE49-F238E27FC236}">
                <a16:creationId xmlns:a16="http://schemas.microsoft.com/office/drawing/2014/main" id="{AF9633D1-F36B-7702-8C66-6049B896AB5F}"/>
              </a:ext>
            </a:extLst>
          </p:cNvPr>
          <p:cNvSpPr/>
          <p:nvPr/>
        </p:nvSpPr>
        <p:spPr>
          <a:xfrm>
            <a:off x="4550735" y="1032520"/>
            <a:ext cx="7654468" cy="46824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F1F2F2"/>
              </a:solidFill>
              <a:effectLst/>
              <a:uLnTx/>
              <a:uFillTx/>
              <a:latin typeface="Arial"/>
              <a:ea typeface="+mn-ea"/>
              <a:cs typeface="+mn-cs"/>
            </a:endParaRPr>
          </a:p>
        </p:txBody>
      </p:sp>
      <p:grpSp>
        <p:nvGrpSpPr>
          <p:cNvPr id="144" name="Group 143">
            <a:extLst>
              <a:ext uri="{FF2B5EF4-FFF2-40B4-BE49-F238E27FC236}">
                <a16:creationId xmlns:a16="http://schemas.microsoft.com/office/drawing/2014/main" id="{202802A4-7FDB-64EF-A44A-F02119FE1C31}"/>
              </a:ext>
            </a:extLst>
          </p:cNvPr>
          <p:cNvGrpSpPr/>
          <p:nvPr/>
        </p:nvGrpSpPr>
        <p:grpSpPr>
          <a:xfrm>
            <a:off x="7029261" y="1184172"/>
            <a:ext cx="4728826" cy="3745095"/>
            <a:chOff x="2679590" y="1376874"/>
            <a:chExt cx="4728826" cy="3745095"/>
          </a:xfrm>
        </p:grpSpPr>
        <p:sp>
          <p:nvSpPr>
            <p:cNvPr id="146" name="Oval 145">
              <a:extLst>
                <a:ext uri="{FF2B5EF4-FFF2-40B4-BE49-F238E27FC236}">
                  <a16:creationId xmlns:a16="http://schemas.microsoft.com/office/drawing/2014/main" id="{C4FA11FF-5198-6085-6160-A1B110C349F2}"/>
                </a:ext>
              </a:extLst>
            </p:cNvPr>
            <p:cNvSpPr/>
            <p:nvPr/>
          </p:nvSpPr>
          <p:spPr>
            <a:xfrm>
              <a:off x="2679590" y="2711395"/>
              <a:ext cx="4476584" cy="2410574"/>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147" name="Oval 146">
              <a:extLst>
                <a:ext uri="{FF2B5EF4-FFF2-40B4-BE49-F238E27FC236}">
                  <a16:creationId xmlns:a16="http://schemas.microsoft.com/office/drawing/2014/main" id="{368281B6-61E8-7401-E27E-2D98319772ED}"/>
                </a:ext>
              </a:extLst>
            </p:cNvPr>
            <p:cNvSpPr/>
            <p:nvPr/>
          </p:nvSpPr>
          <p:spPr>
            <a:xfrm>
              <a:off x="4203958" y="1775021"/>
              <a:ext cx="2749457" cy="2410574"/>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pic>
          <p:nvPicPr>
            <p:cNvPr id="152" name="Picture 151">
              <a:extLst>
                <a:ext uri="{FF2B5EF4-FFF2-40B4-BE49-F238E27FC236}">
                  <a16:creationId xmlns:a16="http://schemas.microsoft.com/office/drawing/2014/main" id="{9A6D5927-E73C-5C8A-B03E-8E2E646605EC}"/>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6354" t="3179" r="7332" b="3664"/>
            <a:stretch/>
          </p:blipFill>
          <p:spPr>
            <a:xfrm>
              <a:off x="3254828" y="1376874"/>
              <a:ext cx="4153588" cy="3464059"/>
            </a:xfrm>
            <a:prstGeom prst="rect">
              <a:avLst/>
            </a:prstGeom>
          </p:spPr>
        </p:pic>
      </p:grpSp>
      <p:grpSp>
        <p:nvGrpSpPr>
          <p:cNvPr id="153" name="Group 152">
            <a:extLst>
              <a:ext uri="{FF2B5EF4-FFF2-40B4-BE49-F238E27FC236}">
                <a16:creationId xmlns:a16="http://schemas.microsoft.com/office/drawing/2014/main" id="{BD204A16-2279-D8B5-81EE-761ADA7B410A}"/>
              </a:ext>
            </a:extLst>
          </p:cNvPr>
          <p:cNvGrpSpPr/>
          <p:nvPr/>
        </p:nvGrpSpPr>
        <p:grpSpPr>
          <a:xfrm>
            <a:off x="8065534" y="1283783"/>
            <a:ext cx="3627243" cy="3304129"/>
            <a:chOff x="4449189" y="1708725"/>
            <a:chExt cx="3627243" cy="3304129"/>
          </a:xfrm>
        </p:grpSpPr>
        <p:sp>
          <p:nvSpPr>
            <p:cNvPr id="154" name="Rectangle 153">
              <a:extLst>
                <a:ext uri="{FF2B5EF4-FFF2-40B4-BE49-F238E27FC236}">
                  <a16:creationId xmlns:a16="http://schemas.microsoft.com/office/drawing/2014/main" id="{F51FC668-C009-057C-C31F-155E2D0A0242}"/>
                </a:ext>
              </a:extLst>
            </p:cNvPr>
            <p:cNvSpPr/>
            <p:nvPr/>
          </p:nvSpPr>
          <p:spPr>
            <a:xfrm>
              <a:off x="5559768" y="4361709"/>
              <a:ext cx="548640" cy="544364"/>
            </a:xfrm>
            <a:prstGeom prst="rect">
              <a:avLst/>
            </a:prstGeom>
            <a:solidFill>
              <a:srgbClr val="A8CE75">
                <a:alpha val="5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155" name="Rectangle 154">
              <a:extLst>
                <a:ext uri="{FF2B5EF4-FFF2-40B4-BE49-F238E27FC236}">
                  <a16:creationId xmlns:a16="http://schemas.microsoft.com/office/drawing/2014/main" id="{5E35929F-C69C-9643-23DA-5ABA2DE445C8}"/>
                </a:ext>
              </a:extLst>
            </p:cNvPr>
            <p:cNvSpPr/>
            <p:nvPr/>
          </p:nvSpPr>
          <p:spPr>
            <a:xfrm>
              <a:off x="6247555" y="4361709"/>
              <a:ext cx="548640" cy="544364"/>
            </a:xfrm>
            <a:prstGeom prst="rect">
              <a:avLst/>
            </a:prstGeom>
            <a:solidFill>
              <a:srgbClr val="A8CE75">
                <a:alpha val="5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156" name="Rectangle 155">
              <a:extLst>
                <a:ext uri="{FF2B5EF4-FFF2-40B4-BE49-F238E27FC236}">
                  <a16:creationId xmlns:a16="http://schemas.microsoft.com/office/drawing/2014/main" id="{69531DA6-9338-B7D2-7183-11F0B234DA7C}"/>
                </a:ext>
              </a:extLst>
            </p:cNvPr>
            <p:cNvSpPr/>
            <p:nvPr/>
          </p:nvSpPr>
          <p:spPr>
            <a:xfrm>
              <a:off x="4894102" y="4298432"/>
              <a:ext cx="470229" cy="714422"/>
            </a:xfrm>
            <a:prstGeom prst="rect">
              <a:avLst/>
            </a:prstGeom>
            <a:solidFill>
              <a:srgbClr val="A8CE75">
                <a:alpha val="5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157" name="Rectangle 156">
              <a:extLst>
                <a:ext uri="{FF2B5EF4-FFF2-40B4-BE49-F238E27FC236}">
                  <a16:creationId xmlns:a16="http://schemas.microsoft.com/office/drawing/2014/main" id="{026A4E65-69B9-532C-7D42-346E86718FFC}"/>
                </a:ext>
              </a:extLst>
            </p:cNvPr>
            <p:cNvSpPr/>
            <p:nvPr/>
          </p:nvSpPr>
          <p:spPr>
            <a:xfrm>
              <a:off x="6935341" y="4361709"/>
              <a:ext cx="287451" cy="544364"/>
            </a:xfrm>
            <a:prstGeom prst="rect">
              <a:avLst/>
            </a:prstGeom>
            <a:solidFill>
              <a:srgbClr val="A8CE75">
                <a:alpha val="5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158" name="Rectangle 157">
              <a:extLst>
                <a:ext uri="{FF2B5EF4-FFF2-40B4-BE49-F238E27FC236}">
                  <a16:creationId xmlns:a16="http://schemas.microsoft.com/office/drawing/2014/main" id="{02469D84-B21F-837F-F41B-2953B88F97E1}"/>
                </a:ext>
              </a:extLst>
            </p:cNvPr>
            <p:cNvSpPr/>
            <p:nvPr/>
          </p:nvSpPr>
          <p:spPr>
            <a:xfrm>
              <a:off x="4449189" y="4336826"/>
              <a:ext cx="285336" cy="544364"/>
            </a:xfrm>
            <a:prstGeom prst="rect">
              <a:avLst/>
            </a:prstGeom>
            <a:solidFill>
              <a:srgbClr val="A8CE75">
                <a:alpha val="5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159" name="Rectangle 158">
              <a:extLst>
                <a:ext uri="{FF2B5EF4-FFF2-40B4-BE49-F238E27FC236}">
                  <a16:creationId xmlns:a16="http://schemas.microsoft.com/office/drawing/2014/main" id="{1F5C6F06-7E35-B02A-6A05-4E37494AE2EE}"/>
                </a:ext>
              </a:extLst>
            </p:cNvPr>
            <p:cNvSpPr/>
            <p:nvPr/>
          </p:nvSpPr>
          <p:spPr>
            <a:xfrm>
              <a:off x="7105281" y="1708725"/>
              <a:ext cx="971151" cy="298536"/>
            </a:xfrm>
            <a:prstGeom prst="rect">
              <a:avLst/>
            </a:prstGeom>
            <a:solidFill>
              <a:srgbClr val="A8CE75">
                <a:alpha val="5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160" name="Rectangle 159">
              <a:extLst>
                <a:ext uri="{FF2B5EF4-FFF2-40B4-BE49-F238E27FC236}">
                  <a16:creationId xmlns:a16="http://schemas.microsoft.com/office/drawing/2014/main" id="{9F475869-D0FA-7BC7-162E-7E7E78248D3C}"/>
                </a:ext>
              </a:extLst>
            </p:cNvPr>
            <p:cNvSpPr/>
            <p:nvPr/>
          </p:nvSpPr>
          <p:spPr>
            <a:xfrm>
              <a:off x="7798030" y="4286171"/>
              <a:ext cx="274786" cy="298536"/>
            </a:xfrm>
            <a:prstGeom prst="rect">
              <a:avLst/>
            </a:prstGeom>
            <a:solidFill>
              <a:srgbClr val="A8CE75">
                <a:alpha val="5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161" name="Rectangle 160">
              <a:extLst>
                <a:ext uri="{FF2B5EF4-FFF2-40B4-BE49-F238E27FC236}">
                  <a16:creationId xmlns:a16="http://schemas.microsoft.com/office/drawing/2014/main" id="{5DC7DD39-0BFF-5179-213A-DC914199A537}"/>
                </a:ext>
              </a:extLst>
            </p:cNvPr>
            <p:cNvSpPr/>
            <p:nvPr/>
          </p:nvSpPr>
          <p:spPr>
            <a:xfrm>
              <a:off x="6482119" y="3705732"/>
              <a:ext cx="263138" cy="309677"/>
            </a:xfrm>
            <a:prstGeom prst="rect">
              <a:avLst/>
            </a:prstGeom>
            <a:solidFill>
              <a:srgbClr val="A8CE75">
                <a:alpha val="5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grpSp>
      <p:grpSp>
        <p:nvGrpSpPr>
          <p:cNvPr id="162" name="Group 161">
            <a:extLst>
              <a:ext uri="{FF2B5EF4-FFF2-40B4-BE49-F238E27FC236}">
                <a16:creationId xmlns:a16="http://schemas.microsoft.com/office/drawing/2014/main" id="{30970B27-D193-9099-F786-1CBC61C27F60}"/>
              </a:ext>
            </a:extLst>
          </p:cNvPr>
          <p:cNvGrpSpPr/>
          <p:nvPr/>
        </p:nvGrpSpPr>
        <p:grpSpPr>
          <a:xfrm>
            <a:off x="7691841" y="1236857"/>
            <a:ext cx="4003499" cy="3291745"/>
            <a:chOff x="4075496" y="1661799"/>
            <a:chExt cx="4003499" cy="3291745"/>
          </a:xfrm>
        </p:grpSpPr>
        <p:sp>
          <p:nvSpPr>
            <p:cNvPr id="163" name="Oval 162">
              <a:extLst>
                <a:ext uri="{FF2B5EF4-FFF2-40B4-BE49-F238E27FC236}">
                  <a16:creationId xmlns:a16="http://schemas.microsoft.com/office/drawing/2014/main" id="{8C9E51D1-C16A-CA60-1F66-0FEC494F48E3}"/>
                </a:ext>
              </a:extLst>
            </p:cNvPr>
            <p:cNvSpPr/>
            <p:nvPr/>
          </p:nvSpPr>
          <p:spPr>
            <a:xfrm>
              <a:off x="5866190" y="1826988"/>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164" name="Oval 163">
              <a:extLst>
                <a:ext uri="{FF2B5EF4-FFF2-40B4-BE49-F238E27FC236}">
                  <a16:creationId xmlns:a16="http://schemas.microsoft.com/office/drawing/2014/main" id="{5460F44A-228A-385D-1517-0CB50F06BAE1}"/>
                </a:ext>
              </a:extLst>
            </p:cNvPr>
            <p:cNvSpPr/>
            <p:nvPr/>
          </p:nvSpPr>
          <p:spPr>
            <a:xfrm>
              <a:off x="5849723" y="2028364"/>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165" name="Oval 164">
              <a:extLst>
                <a:ext uri="{FF2B5EF4-FFF2-40B4-BE49-F238E27FC236}">
                  <a16:creationId xmlns:a16="http://schemas.microsoft.com/office/drawing/2014/main" id="{CA67D3FE-E2E7-99E5-F06E-220D15F87A76}"/>
                </a:ext>
              </a:extLst>
            </p:cNvPr>
            <p:cNvSpPr/>
            <p:nvPr/>
          </p:nvSpPr>
          <p:spPr>
            <a:xfrm>
              <a:off x="4348512" y="4033303"/>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166" name="Oval 165">
              <a:extLst>
                <a:ext uri="{FF2B5EF4-FFF2-40B4-BE49-F238E27FC236}">
                  <a16:creationId xmlns:a16="http://schemas.microsoft.com/office/drawing/2014/main" id="{0D9FAFEF-FC3D-8E66-B845-6D1200AE338B}"/>
                </a:ext>
              </a:extLst>
            </p:cNvPr>
            <p:cNvSpPr/>
            <p:nvPr/>
          </p:nvSpPr>
          <p:spPr>
            <a:xfrm>
              <a:off x="5967677" y="2414224"/>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167" name="Oval 166">
              <a:extLst>
                <a:ext uri="{FF2B5EF4-FFF2-40B4-BE49-F238E27FC236}">
                  <a16:creationId xmlns:a16="http://schemas.microsoft.com/office/drawing/2014/main" id="{ED31F197-6F56-1860-9188-0D4A57C78C6B}"/>
                </a:ext>
              </a:extLst>
            </p:cNvPr>
            <p:cNvSpPr/>
            <p:nvPr/>
          </p:nvSpPr>
          <p:spPr>
            <a:xfrm>
              <a:off x="5967677" y="2541358"/>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168" name="Oval 167">
              <a:extLst>
                <a:ext uri="{FF2B5EF4-FFF2-40B4-BE49-F238E27FC236}">
                  <a16:creationId xmlns:a16="http://schemas.microsoft.com/office/drawing/2014/main" id="{7962DD9B-B7A8-B0BF-608C-2B8CEA137273}"/>
                </a:ext>
              </a:extLst>
            </p:cNvPr>
            <p:cNvSpPr/>
            <p:nvPr/>
          </p:nvSpPr>
          <p:spPr>
            <a:xfrm>
              <a:off x="6302109" y="2627531"/>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grpSp>
          <p:nvGrpSpPr>
            <p:cNvPr id="169" name="Group 168">
              <a:extLst>
                <a:ext uri="{FF2B5EF4-FFF2-40B4-BE49-F238E27FC236}">
                  <a16:creationId xmlns:a16="http://schemas.microsoft.com/office/drawing/2014/main" id="{C9C99074-8D15-7866-CCE0-46F1C00F2443}"/>
                </a:ext>
              </a:extLst>
            </p:cNvPr>
            <p:cNvGrpSpPr/>
            <p:nvPr/>
          </p:nvGrpSpPr>
          <p:grpSpPr>
            <a:xfrm>
              <a:off x="4075496" y="1661799"/>
              <a:ext cx="4003499" cy="3291745"/>
              <a:chOff x="4075496" y="1661799"/>
              <a:chExt cx="4003499" cy="3291745"/>
            </a:xfrm>
          </p:grpSpPr>
          <p:grpSp>
            <p:nvGrpSpPr>
              <p:cNvPr id="170" name="Group 169">
                <a:extLst>
                  <a:ext uri="{FF2B5EF4-FFF2-40B4-BE49-F238E27FC236}">
                    <a16:creationId xmlns:a16="http://schemas.microsoft.com/office/drawing/2014/main" id="{36CDA2E1-F9C7-95DE-D460-AD5D239069EA}"/>
                  </a:ext>
                </a:extLst>
              </p:cNvPr>
              <p:cNvGrpSpPr/>
              <p:nvPr/>
            </p:nvGrpSpPr>
            <p:grpSpPr>
              <a:xfrm>
                <a:off x="4244078" y="3930316"/>
                <a:ext cx="3803781" cy="1023228"/>
                <a:chOff x="4244078" y="3930316"/>
                <a:chExt cx="3803781" cy="1023228"/>
              </a:xfrm>
            </p:grpSpPr>
            <p:sp>
              <p:nvSpPr>
                <p:cNvPr id="262" name="Oval 261">
                  <a:extLst>
                    <a:ext uri="{FF2B5EF4-FFF2-40B4-BE49-F238E27FC236}">
                      <a16:creationId xmlns:a16="http://schemas.microsoft.com/office/drawing/2014/main" id="{DF234563-3BB3-EA73-DA7C-61080A790508}"/>
                    </a:ext>
                  </a:extLst>
                </p:cNvPr>
                <p:cNvSpPr/>
                <p:nvPr/>
              </p:nvSpPr>
              <p:spPr>
                <a:xfrm>
                  <a:off x="4268993" y="4452275"/>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63" name="Oval 262">
                  <a:extLst>
                    <a:ext uri="{FF2B5EF4-FFF2-40B4-BE49-F238E27FC236}">
                      <a16:creationId xmlns:a16="http://schemas.microsoft.com/office/drawing/2014/main" id="{92B9678D-516A-1A75-A4C9-2B5D0826668C}"/>
                    </a:ext>
                  </a:extLst>
                </p:cNvPr>
                <p:cNvSpPr/>
                <p:nvPr/>
              </p:nvSpPr>
              <p:spPr>
                <a:xfrm>
                  <a:off x="4244078" y="4652286"/>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64" name="Oval 263">
                  <a:extLst>
                    <a:ext uri="{FF2B5EF4-FFF2-40B4-BE49-F238E27FC236}">
                      <a16:creationId xmlns:a16="http://schemas.microsoft.com/office/drawing/2014/main" id="{36D804C3-1F3F-375B-430E-8035530A5587}"/>
                    </a:ext>
                  </a:extLst>
                </p:cNvPr>
                <p:cNvSpPr/>
                <p:nvPr/>
              </p:nvSpPr>
              <p:spPr>
                <a:xfrm>
                  <a:off x="4491574" y="4681274"/>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65" name="Oval 264">
                  <a:extLst>
                    <a:ext uri="{FF2B5EF4-FFF2-40B4-BE49-F238E27FC236}">
                      <a16:creationId xmlns:a16="http://schemas.microsoft.com/office/drawing/2014/main" id="{FD23B509-E2BC-9B53-24CE-83B32720B384}"/>
                    </a:ext>
                  </a:extLst>
                </p:cNvPr>
                <p:cNvSpPr/>
                <p:nvPr/>
              </p:nvSpPr>
              <p:spPr>
                <a:xfrm>
                  <a:off x="4881084" y="4381746"/>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66" name="Oval 265">
                  <a:extLst>
                    <a:ext uri="{FF2B5EF4-FFF2-40B4-BE49-F238E27FC236}">
                      <a16:creationId xmlns:a16="http://schemas.microsoft.com/office/drawing/2014/main" id="{7CB07F81-76AB-106F-770B-F52822C7935B}"/>
                    </a:ext>
                  </a:extLst>
                </p:cNvPr>
                <p:cNvSpPr/>
                <p:nvPr/>
              </p:nvSpPr>
              <p:spPr>
                <a:xfrm>
                  <a:off x="4476168" y="4374658"/>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67" name="Oval 266">
                  <a:extLst>
                    <a:ext uri="{FF2B5EF4-FFF2-40B4-BE49-F238E27FC236}">
                      <a16:creationId xmlns:a16="http://schemas.microsoft.com/office/drawing/2014/main" id="{78E1AF21-C829-F9A5-1BB6-1381A5D365B5}"/>
                    </a:ext>
                  </a:extLst>
                </p:cNvPr>
                <p:cNvSpPr/>
                <p:nvPr/>
              </p:nvSpPr>
              <p:spPr>
                <a:xfrm>
                  <a:off x="4882480" y="4590160"/>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68" name="Oval 267">
                  <a:extLst>
                    <a:ext uri="{FF2B5EF4-FFF2-40B4-BE49-F238E27FC236}">
                      <a16:creationId xmlns:a16="http://schemas.microsoft.com/office/drawing/2014/main" id="{2974DD59-D4F5-DE36-CE33-292B71EA91B0}"/>
                    </a:ext>
                  </a:extLst>
                </p:cNvPr>
                <p:cNvSpPr/>
                <p:nvPr/>
              </p:nvSpPr>
              <p:spPr>
                <a:xfrm>
                  <a:off x="4882480" y="4811667"/>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69" name="Oval 268">
                  <a:extLst>
                    <a:ext uri="{FF2B5EF4-FFF2-40B4-BE49-F238E27FC236}">
                      <a16:creationId xmlns:a16="http://schemas.microsoft.com/office/drawing/2014/main" id="{EEDBCB34-4F7E-6021-8C3D-A9EB1BA6D876}"/>
                    </a:ext>
                  </a:extLst>
                </p:cNvPr>
                <p:cNvSpPr/>
                <p:nvPr/>
              </p:nvSpPr>
              <p:spPr>
                <a:xfrm>
                  <a:off x="5201707" y="4369679"/>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70" name="Oval 269">
                  <a:extLst>
                    <a:ext uri="{FF2B5EF4-FFF2-40B4-BE49-F238E27FC236}">
                      <a16:creationId xmlns:a16="http://schemas.microsoft.com/office/drawing/2014/main" id="{3FB95D7C-6EC2-5229-4A15-3D57D7D60EE6}"/>
                    </a:ext>
                  </a:extLst>
                </p:cNvPr>
                <p:cNvSpPr/>
                <p:nvPr/>
              </p:nvSpPr>
              <p:spPr>
                <a:xfrm>
                  <a:off x="5199876" y="4581757"/>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71" name="Oval 270">
                  <a:extLst>
                    <a:ext uri="{FF2B5EF4-FFF2-40B4-BE49-F238E27FC236}">
                      <a16:creationId xmlns:a16="http://schemas.microsoft.com/office/drawing/2014/main" id="{5A45C64A-155E-28DA-82B5-355C5DEF2025}"/>
                    </a:ext>
                  </a:extLst>
                </p:cNvPr>
                <p:cNvSpPr/>
                <p:nvPr/>
              </p:nvSpPr>
              <p:spPr>
                <a:xfrm>
                  <a:off x="5199876" y="4812487"/>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72" name="Oval 271">
                  <a:extLst>
                    <a:ext uri="{FF2B5EF4-FFF2-40B4-BE49-F238E27FC236}">
                      <a16:creationId xmlns:a16="http://schemas.microsoft.com/office/drawing/2014/main" id="{5E089E06-C302-AC9B-5941-BCA021A433F6}"/>
                    </a:ext>
                  </a:extLst>
                </p:cNvPr>
                <p:cNvSpPr/>
                <p:nvPr/>
              </p:nvSpPr>
              <p:spPr>
                <a:xfrm>
                  <a:off x="5590903" y="4446958"/>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73" name="Oval 272">
                  <a:extLst>
                    <a:ext uri="{FF2B5EF4-FFF2-40B4-BE49-F238E27FC236}">
                      <a16:creationId xmlns:a16="http://schemas.microsoft.com/office/drawing/2014/main" id="{5D77B74B-D358-349A-60DC-E414B80F74D3}"/>
                    </a:ext>
                  </a:extLst>
                </p:cNvPr>
                <p:cNvSpPr/>
                <p:nvPr/>
              </p:nvSpPr>
              <p:spPr>
                <a:xfrm>
                  <a:off x="5924414" y="4446957"/>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74" name="Oval 273">
                  <a:extLst>
                    <a:ext uri="{FF2B5EF4-FFF2-40B4-BE49-F238E27FC236}">
                      <a16:creationId xmlns:a16="http://schemas.microsoft.com/office/drawing/2014/main" id="{9BE2E7A2-906D-8444-DFD6-CDA3377099AE}"/>
                    </a:ext>
                  </a:extLst>
                </p:cNvPr>
                <p:cNvSpPr/>
                <p:nvPr/>
              </p:nvSpPr>
              <p:spPr>
                <a:xfrm>
                  <a:off x="6257925" y="4470787"/>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75" name="Oval 274">
                  <a:extLst>
                    <a:ext uri="{FF2B5EF4-FFF2-40B4-BE49-F238E27FC236}">
                      <a16:creationId xmlns:a16="http://schemas.microsoft.com/office/drawing/2014/main" id="{811990EC-1890-E18E-3F46-FE2EC78CE232}"/>
                    </a:ext>
                  </a:extLst>
                </p:cNvPr>
                <p:cNvSpPr/>
                <p:nvPr/>
              </p:nvSpPr>
              <p:spPr>
                <a:xfrm>
                  <a:off x="6616610" y="4462451"/>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76" name="Oval 275">
                  <a:extLst>
                    <a:ext uri="{FF2B5EF4-FFF2-40B4-BE49-F238E27FC236}">
                      <a16:creationId xmlns:a16="http://schemas.microsoft.com/office/drawing/2014/main" id="{0A8E6ED8-7362-606A-A6A6-151DFBEDCD53}"/>
                    </a:ext>
                  </a:extLst>
                </p:cNvPr>
                <p:cNvSpPr/>
                <p:nvPr/>
              </p:nvSpPr>
              <p:spPr>
                <a:xfrm>
                  <a:off x="6971084" y="4470786"/>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77" name="Oval 276">
                  <a:extLst>
                    <a:ext uri="{FF2B5EF4-FFF2-40B4-BE49-F238E27FC236}">
                      <a16:creationId xmlns:a16="http://schemas.microsoft.com/office/drawing/2014/main" id="{9EAE4450-DA90-1C3C-82AF-FA3454E81E90}"/>
                    </a:ext>
                  </a:extLst>
                </p:cNvPr>
                <p:cNvSpPr/>
                <p:nvPr/>
              </p:nvSpPr>
              <p:spPr>
                <a:xfrm>
                  <a:off x="6981160" y="4741138"/>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78" name="Oval 277">
                  <a:extLst>
                    <a:ext uri="{FF2B5EF4-FFF2-40B4-BE49-F238E27FC236}">
                      <a16:creationId xmlns:a16="http://schemas.microsoft.com/office/drawing/2014/main" id="{07260132-C340-DDCE-A7AF-432085F38D34}"/>
                    </a:ext>
                  </a:extLst>
                </p:cNvPr>
                <p:cNvSpPr/>
                <p:nvPr/>
              </p:nvSpPr>
              <p:spPr>
                <a:xfrm>
                  <a:off x="6632538" y="4724374"/>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79" name="Oval 278">
                  <a:extLst>
                    <a:ext uri="{FF2B5EF4-FFF2-40B4-BE49-F238E27FC236}">
                      <a16:creationId xmlns:a16="http://schemas.microsoft.com/office/drawing/2014/main" id="{09EEC556-E4EC-6C3E-38F0-FB901F385182}"/>
                    </a:ext>
                  </a:extLst>
                </p:cNvPr>
                <p:cNvSpPr/>
                <p:nvPr/>
              </p:nvSpPr>
              <p:spPr>
                <a:xfrm>
                  <a:off x="6265401" y="4741138"/>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80" name="Oval 279">
                  <a:extLst>
                    <a:ext uri="{FF2B5EF4-FFF2-40B4-BE49-F238E27FC236}">
                      <a16:creationId xmlns:a16="http://schemas.microsoft.com/office/drawing/2014/main" id="{4AA01AA1-A33D-D9E0-2A0B-4E437C9CD5E2}"/>
                    </a:ext>
                  </a:extLst>
                </p:cNvPr>
                <p:cNvSpPr/>
                <p:nvPr/>
              </p:nvSpPr>
              <p:spPr>
                <a:xfrm>
                  <a:off x="5924414" y="4718862"/>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81" name="Oval 280">
                  <a:extLst>
                    <a:ext uri="{FF2B5EF4-FFF2-40B4-BE49-F238E27FC236}">
                      <a16:creationId xmlns:a16="http://schemas.microsoft.com/office/drawing/2014/main" id="{8622EC9E-9F3B-E32B-49E9-59059A517CE9}"/>
                    </a:ext>
                  </a:extLst>
                </p:cNvPr>
                <p:cNvSpPr/>
                <p:nvPr/>
              </p:nvSpPr>
              <p:spPr>
                <a:xfrm>
                  <a:off x="7346784" y="4765016"/>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82" name="Oval 281">
                  <a:extLst>
                    <a:ext uri="{FF2B5EF4-FFF2-40B4-BE49-F238E27FC236}">
                      <a16:creationId xmlns:a16="http://schemas.microsoft.com/office/drawing/2014/main" id="{8965222D-AC9B-BC43-54D1-9B3135B57338}"/>
                    </a:ext>
                  </a:extLst>
                </p:cNvPr>
                <p:cNvSpPr/>
                <p:nvPr/>
              </p:nvSpPr>
              <p:spPr>
                <a:xfrm>
                  <a:off x="7888822" y="4633891"/>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83" name="Oval 282">
                  <a:extLst>
                    <a:ext uri="{FF2B5EF4-FFF2-40B4-BE49-F238E27FC236}">
                      <a16:creationId xmlns:a16="http://schemas.microsoft.com/office/drawing/2014/main" id="{777890E5-F754-77B1-CCD5-948C9448BEBF}"/>
                    </a:ext>
                  </a:extLst>
                </p:cNvPr>
                <p:cNvSpPr/>
                <p:nvPr/>
              </p:nvSpPr>
              <p:spPr>
                <a:xfrm>
                  <a:off x="7840440" y="4375337"/>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84" name="Oval 283">
                  <a:extLst>
                    <a:ext uri="{FF2B5EF4-FFF2-40B4-BE49-F238E27FC236}">
                      <a16:creationId xmlns:a16="http://schemas.microsoft.com/office/drawing/2014/main" id="{FFE1D599-C6A0-B15E-B477-4E0F1854024E}"/>
                    </a:ext>
                  </a:extLst>
                </p:cNvPr>
                <p:cNvSpPr/>
                <p:nvPr/>
              </p:nvSpPr>
              <p:spPr>
                <a:xfrm>
                  <a:off x="5559768" y="4724485"/>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85" name="Oval 284">
                  <a:extLst>
                    <a:ext uri="{FF2B5EF4-FFF2-40B4-BE49-F238E27FC236}">
                      <a16:creationId xmlns:a16="http://schemas.microsoft.com/office/drawing/2014/main" id="{9B3CA15C-E805-40D4-FC43-800261DC5E95}"/>
                    </a:ext>
                  </a:extLst>
                </p:cNvPr>
                <p:cNvSpPr/>
                <p:nvPr/>
              </p:nvSpPr>
              <p:spPr>
                <a:xfrm>
                  <a:off x="7817548" y="3930316"/>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grpSp>
          <p:grpSp>
            <p:nvGrpSpPr>
              <p:cNvPr id="171" name="Group 170">
                <a:extLst>
                  <a:ext uri="{FF2B5EF4-FFF2-40B4-BE49-F238E27FC236}">
                    <a16:creationId xmlns:a16="http://schemas.microsoft.com/office/drawing/2014/main" id="{1EE97C73-A41E-1B1D-AC18-7E859C3144FB}"/>
                  </a:ext>
                </a:extLst>
              </p:cNvPr>
              <p:cNvGrpSpPr/>
              <p:nvPr/>
            </p:nvGrpSpPr>
            <p:grpSpPr>
              <a:xfrm>
                <a:off x="4075496" y="1661799"/>
                <a:ext cx="2565660" cy="2520307"/>
                <a:chOff x="4075496" y="1661799"/>
                <a:chExt cx="2565660" cy="2520307"/>
              </a:xfrm>
            </p:grpSpPr>
            <p:sp>
              <p:nvSpPr>
                <p:cNvPr id="213" name="Oval 212">
                  <a:extLst>
                    <a:ext uri="{FF2B5EF4-FFF2-40B4-BE49-F238E27FC236}">
                      <a16:creationId xmlns:a16="http://schemas.microsoft.com/office/drawing/2014/main" id="{D96C2020-27EB-64DB-0A39-120967E2CB14}"/>
                    </a:ext>
                  </a:extLst>
                </p:cNvPr>
                <p:cNvSpPr/>
                <p:nvPr/>
              </p:nvSpPr>
              <p:spPr>
                <a:xfrm>
                  <a:off x="6143704" y="3735826"/>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14" name="Oval 213">
                  <a:extLst>
                    <a:ext uri="{FF2B5EF4-FFF2-40B4-BE49-F238E27FC236}">
                      <a16:creationId xmlns:a16="http://schemas.microsoft.com/office/drawing/2014/main" id="{E9384CFE-4A93-82C6-BE01-9FCA98F5E130}"/>
                    </a:ext>
                  </a:extLst>
                </p:cNvPr>
                <p:cNvSpPr/>
                <p:nvPr/>
              </p:nvSpPr>
              <p:spPr>
                <a:xfrm>
                  <a:off x="5911154" y="3752465"/>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15" name="Oval 214">
                  <a:extLst>
                    <a:ext uri="{FF2B5EF4-FFF2-40B4-BE49-F238E27FC236}">
                      <a16:creationId xmlns:a16="http://schemas.microsoft.com/office/drawing/2014/main" id="{7CD532FF-BC8F-A3BA-7684-A52BA1C06C15}"/>
                    </a:ext>
                  </a:extLst>
                </p:cNvPr>
                <p:cNvSpPr/>
                <p:nvPr/>
              </p:nvSpPr>
              <p:spPr>
                <a:xfrm>
                  <a:off x="6482119" y="3398896"/>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16" name="Oval 215">
                  <a:extLst>
                    <a:ext uri="{FF2B5EF4-FFF2-40B4-BE49-F238E27FC236}">
                      <a16:creationId xmlns:a16="http://schemas.microsoft.com/office/drawing/2014/main" id="{05FA187E-135E-0B72-6A45-027C9F10235C}"/>
                    </a:ext>
                  </a:extLst>
                </p:cNvPr>
                <p:cNvSpPr/>
                <p:nvPr/>
              </p:nvSpPr>
              <p:spPr>
                <a:xfrm>
                  <a:off x="6304746" y="3374041"/>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17" name="Oval 216">
                  <a:extLst>
                    <a:ext uri="{FF2B5EF4-FFF2-40B4-BE49-F238E27FC236}">
                      <a16:creationId xmlns:a16="http://schemas.microsoft.com/office/drawing/2014/main" id="{950662F3-7CE0-1083-2422-66D88D20A1E9}"/>
                    </a:ext>
                  </a:extLst>
                </p:cNvPr>
                <p:cNvSpPr/>
                <p:nvPr/>
              </p:nvSpPr>
              <p:spPr>
                <a:xfrm>
                  <a:off x="5743860" y="3374041"/>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18" name="Oval 217">
                  <a:extLst>
                    <a:ext uri="{FF2B5EF4-FFF2-40B4-BE49-F238E27FC236}">
                      <a16:creationId xmlns:a16="http://schemas.microsoft.com/office/drawing/2014/main" id="{F45A2596-3A65-85B4-D118-FC302F2ACC8D}"/>
                    </a:ext>
                  </a:extLst>
                </p:cNvPr>
                <p:cNvSpPr/>
                <p:nvPr/>
              </p:nvSpPr>
              <p:spPr>
                <a:xfrm>
                  <a:off x="5647631" y="3516904"/>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grpSp>
              <p:nvGrpSpPr>
                <p:cNvPr id="219" name="Group 218">
                  <a:extLst>
                    <a:ext uri="{FF2B5EF4-FFF2-40B4-BE49-F238E27FC236}">
                      <a16:creationId xmlns:a16="http://schemas.microsoft.com/office/drawing/2014/main" id="{78020ECE-877C-16F0-49FA-6B51FA0AFBC5}"/>
                    </a:ext>
                  </a:extLst>
                </p:cNvPr>
                <p:cNvGrpSpPr/>
                <p:nvPr/>
              </p:nvGrpSpPr>
              <p:grpSpPr>
                <a:xfrm>
                  <a:off x="4075496" y="1661799"/>
                  <a:ext cx="1796681" cy="2520307"/>
                  <a:chOff x="4075496" y="1661799"/>
                  <a:chExt cx="1796681" cy="2520307"/>
                </a:xfrm>
              </p:grpSpPr>
              <p:sp>
                <p:nvSpPr>
                  <p:cNvPr id="220" name="Oval 219">
                    <a:extLst>
                      <a:ext uri="{FF2B5EF4-FFF2-40B4-BE49-F238E27FC236}">
                        <a16:creationId xmlns:a16="http://schemas.microsoft.com/office/drawing/2014/main" id="{557A7C83-6EFD-5A37-24C6-78E0C67834D9}"/>
                      </a:ext>
                    </a:extLst>
                  </p:cNvPr>
                  <p:cNvSpPr/>
                  <p:nvPr/>
                </p:nvSpPr>
                <p:spPr>
                  <a:xfrm>
                    <a:off x="5713140" y="1843830"/>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21" name="Oval 220">
                    <a:extLst>
                      <a:ext uri="{FF2B5EF4-FFF2-40B4-BE49-F238E27FC236}">
                        <a16:creationId xmlns:a16="http://schemas.microsoft.com/office/drawing/2014/main" id="{1C273989-137D-45EE-1553-73CB9DF8C31B}"/>
                      </a:ext>
                    </a:extLst>
                  </p:cNvPr>
                  <p:cNvSpPr/>
                  <p:nvPr/>
                </p:nvSpPr>
                <p:spPr>
                  <a:xfrm>
                    <a:off x="5713140" y="1978138"/>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22" name="Oval 221">
                    <a:extLst>
                      <a:ext uri="{FF2B5EF4-FFF2-40B4-BE49-F238E27FC236}">
                        <a16:creationId xmlns:a16="http://schemas.microsoft.com/office/drawing/2014/main" id="{E11AA238-11D8-94F3-D3B6-9F7D70D713E2}"/>
                      </a:ext>
                    </a:extLst>
                  </p:cNvPr>
                  <p:cNvSpPr/>
                  <p:nvPr/>
                </p:nvSpPr>
                <p:spPr>
                  <a:xfrm>
                    <a:off x="4877394" y="1739372"/>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23" name="Oval 222">
                    <a:extLst>
                      <a:ext uri="{FF2B5EF4-FFF2-40B4-BE49-F238E27FC236}">
                        <a16:creationId xmlns:a16="http://schemas.microsoft.com/office/drawing/2014/main" id="{1D9FE113-99ED-1B37-1F46-D3E64AE4F732}"/>
                      </a:ext>
                    </a:extLst>
                  </p:cNvPr>
                  <p:cNvSpPr/>
                  <p:nvPr/>
                </p:nvSpPr>
                <p:spPr>
                  <a:xfrm>
                    <a:off x="4977832" y="1739372"/>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24" name="Oval 223">
                    <a:extLst>
                      <a:ext uri="{FF2B5EF4-FFF2-40B4-BE49-F238E27FC236}">
                        <a16:creationId xmlns:a16="http://schemas.microsoft.com/office/drawing/2014/main" id="{95E7B1E5-5A1F-6172-5CC7-CA61E9D6C230}"/>
                      </a:ext>
                    </a:extLst>
                  </p:cNvPr>
                  <p:cNvSpPr/>
                  <p:nvPr/>
                </p:nvSpPr>
                <p:spPr>
                  <a:xfrm>
                    <a:off x="5079824" y="1750715"/>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25" name="Oval 224">
                    <a:extLst>
                      <a:ext uri="{FF2B5EF4-FFF2-40B4-BE49-F238E27FC236}">
                        <a16:creationId xmlns:a16="http://schemas.microsoft.com/office/drawing/2014/main" id="{5E7CA6C0-DEC4-FDEE-D630-A6D60D681726}"/>
                      </a:ext>
                    </a:extLst>
                  </p:cNvPr>
                  <p:cNvSpPr/>
                  <p:nvPr/>
                </p:nvSpPr>
                <p:spPr>
                  <a:xfrm>
                    <a:off x="5221589" y="1732328"/>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26" name="Oval 225">
                    <a:extLst>
                      <a:ext uri="{FF2B5EF4-FFF2-40B4-BE49-F238E27FC236}">
                        <a16:creationId xmlns:a16="http://schemas.microsoft.com/office/drawing/2014/main" id="{48338FC8-F7D7-9216-50B2-225EC6EEC8AD}"/>
                      </a:ext>
                    </a:extLst>
                  </p:cNvPr>
                  <p:cNvSpPr/>
                  <p:nvPr/>
                </p:nvSpPr>
                <p:spPr>
                  <a:xfrm>
                    <a:off x="4883332" y="1962756"/>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27" name="Oval 226">
                    <a:extLst>
                      <a:ext uri="{FF2B5EF4-FFF2-40B4-BE49-F238E27FC236}">
                        <a16:creationId xmlns:a16="http://schemas.microsoft.com/office/drawing/2014/main" id="{FB402C4E-2B0E-6B98-3ED4-72C91DF447F0}"/>
                      </a:ext>
                    </a:extLst>
                  </p:cNvPr>
                  <p:cNvSpPr/>
                  <p:nvPr/>
                </p:nvSpPr>
                <p:spPr>
                  <a:xfrm>
                    <a:off x="4981050" y="1955119"/>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28" name="Oval 227">
                    <a:extLst>
                      <a:ext uri="{FF2B5EF4-FFF2-40B4-BE49-F238E27FC236}">
                        <a16:creationId xmlns:a16="http://schemas.microsoft.com/office/drawing/2014/main" id="{487E29DE-6E55-AF20-8070-6D46653A3F30}"/>
                      </a:ext>
                    </a:extLst>
                  </p:cNvPr>
                  <p:cNvSpPr/>
                  <p:nvPr/>
                </p:nvSpPr>
                <p:spPr>
                  <a:xfrm>
                    <a:off x="5086657" y="1945722"/>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29" name="Oval 228">
                    <a:extLst>
                      <a:ext uri="{FF2B5EF4-FFF2-40B4-BE49-F238E27FC236}">
                        <a16:creationId xmlns:a16="http://schemas.microsoft.com/office/drawing/2014/main" id="{39E965C4-6872-BD70-6537-B3ADFF9E14A1}"/>
                      </a:ext>
                    </a:extLst>
                  </p:cNvPr>
                  <p:cNvSpPr/>
                  <p:nvPr/>
                </p:nvSpPr>
                <p:spPr>
                  <a:xfrm>
                    <a:off x="5196573" y="1955119"/>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30" name="Oval 229">
                    <a:extLst>
                      <a:ext uri="{FF2B5EF4-FFF2-40B4-BE49-F238E27FC236}">
                        <a16:creationId xmlns:a16="http://schemas.microsoft.com/office/drawing/2014/main" id="{508F6C8C-692D-04BC-4875-5ED5D57E1A44}"/>
                      </a:ext>
                    </a:extLst>
                  </p:cNvPr>
                  <p:cNvSpPr/>
                  <p:nvPr/>
                </p:nvSpPr>
                <p:spPr>
                  <a:xfrm>
                    <a:off x="4544201" y="1970698"/>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31" name="Oval 230">
                    <a:extLst>
                      <a:ext uri="{FF2B5EF4-FFF2-40B4-BE49-F238E27FC236}">
                        <a16:creationId xmlns:a16="http://schemas.microsoft.com/office/drawing/2014/main" id="{6A20EFDA-4A5F-AEED-A4E1-0C2962AB7E65}"/>
                      </a:ext>
                    </a:extLst>
                  </p:cNvPr>
                  <p:cNvSpPr/>
                  <p:nvPr/>
                </p:nvSpPr>
                <p:spPr>
                  <a:xfrm>
                    <a:off x="4513334" y="1852850"/>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32" name="Oval 231">
                    <a:extLst>
                      <a:ext uri="{FF2B5EF4-FFF2-40B4-BE49-F238E27FC236}">
                        <a16:creationId xmlns:a16="http://schemas.microsoft.com/office/drawing/2014/main" id="{8E482C35-3893-2298-342A-74C2A10BF254}"/>
                      </a:ext>
                    </a:extLst>
                  </p:cNvPr>
                  <p:cNvSpPr/>
                  <p:nvPr/>
                </p:nvSpPr>
                <p:spPr>
                  <a:xfrm>
                    <a:off x="4632157" y="1749440"/>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33" name="Oval 232">
                    <a:extLst>
                      <a:ext uri="{FF2B5EF4-FFF2-40B4-BE49-F238E27FC236}">
                        <a16:creationId xmlns:a16="http://schemas.microsoft.com/office/drawing/2014/main" id="{CB21AF50-6C56-EFE3-4E01-35F31C9E1FAE}"/>
                      </a:ext>
                    </a:extLst>
                  </p:cNvPr>
                  <p:cNvSpPr/>
                  <p:nvPr/>
                </p:nvSpPr>
                <p:spPr>
                  <a:xfrm>
                    <a:off x="4449189" y="1661799"/>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34" name="Oval 233">
                    <a:extLst>
                      <a:ext uri="{FF2B5EF4-FFF2-40B4-BE49-F238E27FC236}">
                        <a16:creationId xmlns:a16="http://schemas.microsoft.com/office/drawing/2014/main" id="{46108CD5-7D43-178D-0701-F7D8C4C575A7}"/>
                      </a:ext>
                    </a:extLst>
                  </p:cNvPr>
                  <p:cNvSpPr/>
                  <p:nvPr/>
                </p:nvSpPr>
                <p:spPr>
                  <a:xfrm>
                    <a:off x="4244078" y="1668843"/>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35" name="Oval 234">
                    <a:extLst>
                      <a:ext uri="{FF2B5EF4-FFF2-40B4-BE49-F238E27FC236}">
                        <a16:creationId xmlns:a16="http://schemas.microsoft.com/office/drawing/2014/main" id="{BB7A4F90-8008-292A-C830-3683317082F9}"/>
                      </a:ext>
                    </a:extLst>
                  </p:cNvPr>
                  <p:cNvSpPr/>
                  <p:nvPr/>
                </p:nvSpPr>
                <p:spPr>
                  <a:xfrm>
                    <a:off x="4099249" y="1748224"/>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36" name="Oval 235">
                    <a:extLst>
                      <a:ext uri="{FF2B5EF4-FFF2-40B4-BE49-F238E27FC236}">
                        <a16:creationId xmlns:a16="http://schemas.microsoft.com/office/drawing/2014/main" id="{5B70C053-85C0-72A9-DE33-341F5B163BCC}"/>
                      </a:ext>
                    </a:extLst>
                  </p:cNvPr>
                  <p:cNvSpPr/>
                  <p:nvPr/>
                </p:nvSpPr>
                <p:spPr>
                  <a:xfrm>
                    <a:off x="4203598" y="1851948"/>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37" name="Oval 236">
                    <a:extLst>
                      <a:ext uri="{FF2B5EF4-FFF2-40B4-BE49-F238E27FC236}">
                        <a16:creationId xmlns:a16="http://schemas.microsoft.com/office/drawing/2014/main" id="{3495B52A-F5E3-5A56-E266-BB8CAAC950BB}"/>
                      </a:ext>
                    </a:extLst>
                  </p:cNvPr>
                  <p:cNvSpPr/>
                  <p:nvPr/>
                </p:nvSpPr>
                <p:spPr>
                  <a:xfrm>
                    <a:off x="4099249" y="1962756"/>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38" name="Oval 237">
                    <a:extLst>
                      <a:ext uri="{FF2B5EF4-FFF2-40B4-BE49-F238E27FC236}">
                        <a16:creationId xmlns:a16="http://schemas.microsoft.com/office/drawing/2014/main" id="{F772CC89-A807-B757-0E39-1FDB106F2DB7}"/>
                      </a:ext>
                    </a:extLst>
                  </p:cNvPr>
                  <p:cNvSpPr/>
                  <p:nvPr/>
                </p:nvSpPr>
                <p:spPr>
                  <a:xfrm>
                    <a:off x="4305551" y="1794776"/>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39" name="Oval 238">
                    <a:extLst>
                      <a:ext uri="{FF2B5EF4-FFF2-40B4-BE49-F238E27FC236}">
                        <a16:creationId xmlns:a16="http://schemas.microsoft.com/office/drawing/2014/main" id="{B1913A42-F618-EBF2-2181-BDFB08230365}"/>
                      </a:ext>
                    </a:extLst>
                  </p:cNvPr>
                  <p:cNvSpPr/>
                  <p:nvPr/>
                </p:nvSpPr>
                <p:spPr>
                  <a:xfrm>
                    <a:off x="4425115" y="1819968"/>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40" name="Oval 239">
                    <a:extLst>
                      <a:ext uri="{FF2B5EF4-FFF2-40B4-BE49-F238E27FC236}">
                        <a16:creationId xmlns:a16="http://schemas.microsoft.com/office/drawing/2014/main" id="{4960ED8E-50A8-1931-43D6-6CAD54C569A1}"/>
                      </a:ext>
                    </a:extLst>
                  </p:cNvPr>
                  <p:cNvSpPr/>
                  <p:nvPr/>
                </p:nvSpPr>
                <p:spPr>
                  <a:xfrm>
                    <a:off x="4178767" y="2996012"/>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41" name="Oval 240">
                    <a:extLst>
                      <a:ext uri="{FF2B5EF4-FFF2-40B4-BE49-F238E27FC236}">
                        <a16:creationId xmlns:a16="http://schemas.microsoft.com/office/drawing/2014/main" id="{6490C0C7-8A9F-496F-1823-95665E35AD8C}"/>
                      </a:ext>
                    </a:extLst>
                  </p:cNvPr>
                  <p:cNvSpPr/>
                  <p:nvPr/>
                </p:nvSpPr>
                <p:spPr>
                  <a:xfrm>
                    <a:off x="4190344" y="3116172"/>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42" name="Oval 241">
                    <a:extLst>
                      <a:ext uri="{FF2B5EF4-FFF2-40B4-BE49-F238E27FC236}">
                        <a16:creationId xmlns:a16="http://schemas.microsoft.com/office/drawing/2014/main" id="{31671685-C6E2-3983-6235-40EDB8C63C1E}"/>
                      </a:ext>
                    </a:extLst>
                  </p:cNvPr>
                  <p:cNvSpPr/>
                  <p:nvPr/>
                </p:nvSpPr>
                <p:spPr>
                  <a:xfrm>
                    <a:off x="4178767" y="3232873"/>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43" name="Oval 242">
                    <a:extLst>
                      <a:ext uri="{FF2B5EF4-FFF2-40B4-BE49-F238E27FC236}">
                        <a16:creationId xmlns:a16="http://schemas.microsoft.com/office/drawing/2014/main" id="{BB80AC99-1D87-0A83-C3D4-6D0AF52F591B}"/>
                      </a:ext>
                    </a:extLst>
                  </p:cNvPr>
                  <p:cNvSpPr/>
                  <p:nvPr/>
                </p:nvSpPr>
                <p:spPr>
                  <a:xfrm>
                    <a:off x="4277314" y="3472962"/>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44" name="Oval 243">
                    <a:extLst>
                      <a:ext uri="{FF2B5EF4-FFF2-40B4-BE49-F238E27FC236}">
                        <a16:creationId xmlns:a16="http://schemas.microsoft.com/office/drawing/2014/main" id="{787FD977-C39B-5B88-C227-39F26BD9EB50}"/>
                      </a:ext>
                    </a:extLst>
                  </p:cNvPr>
                  <p:cNvSpPr/>
                  <p:nvPr/>
                </p:nvSpPr>
                <p:spPr>
                  <a:xfrm>
                    <a:off x="4272191" y="3713051"/>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45" name="Oval 244">
                    <a:extLst>
                      <a:ext uri="{FF2B5EF4-FFF2-40B4-BE49-F238E27FC236}">
                        <a16:creationId xmlns:a16="http://schemas.microsoft.com/office/drawing/2014/main" id="{CF84A0B7-1355-15F6-0A0B-7B580D6BDCD5}"/>
                      </a:ext>
                    </a:extLst>
                  </p:cNvPr>
                  <p:cNvSpPr/>
                  <p:nvPr/>
                </p:nvSpPr>
                <p:spPr>
                  <a:xfrm>
                    <a:off x="4093998" y="3442003"/>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46" name="Oval 245">
                    <a:extLst>
                      <a:ext uri="{FF2B5EF4-FFF2-40B4-BE49-F238E27FC236}">
                        <a16:creationId xmlns:a16="http://schemas.microsoft.com/office/drawing/2014/main" id="{21CE486D-DCE4-E01E-3ABE-2EC74B0F4BCC}"/>
                      </a:ext>
                    </a:extLst>
                  </p:cNvPr>
                  <p:cNvSpPr/>
                  <p:nvPr/>
                </p:nvSpPr>
                <p:spPr>
                  <a:xfrm>
                    <a:off x="4075496" y="3600413"/>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47" name="Oval 246">
                    <a:extLst>
                      <a:ext uri="{FF2B5EF4-FFF2-40B4-BE49-F238E27FC236}">
                        <a16:creationId xmlns:a16="http://schemas.microsoft.com/office/drawing/2014/main" id="{3A6A98FE-1E09-78F9-D45C-9491858AC4A7}"/>
                      </a:ext>
                    </a:extLst>
                  </p:cNvPr>
                  <p:cNvSpPr/>
                  <p:nvPr/>
                </p:nvSpPr>
                <p:spPr>
                  <a:xfrm>
                    <a:off x="4084088" y="3754381"/>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48" name="Oval 247">
                    <a:extLst>
                      <a:ext uri="{FF2B5EF4-FFF2-40B4-BE49-F238E27FC236}">
                        <a16:creationId xmlns:a16="http://schemas.microsoft.com/office/drawing/2014/main" id="{EC4697DC-768C-7762-F935-3E6E3E277BEE}"/>
                      </a:ext>
                    </a:extLst>
                  </p:cNvPr>
                  <p:cNvSpPr/>
                  <p:nvPr/>
                </p:nvSpPr>
                <p:spPr>
                  <a:xfrm>
                    <a:off x="4084087" y="4039074"/>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49" name="Oval 248">
                    <a:extLst>
                      <a:ext uri="{FF2B5EF4-FFF2-40B4-BE49-F238E27FC236}">
                        <a16:creationId xmlns:a16="http://schemas.microsoft.com/office/drawing/2014/main" id="{6EA1D7AA-6832-8946-8A8E-56F28A3103C6}"/>
                      </a:ext>
                    </a:extLst>
                  </p:cNvPr>
                  <p:cNvSpPr/>
                  <p:nvPr/>
                </p:nvSpPr>
                <p:spPr>
                  <a:xfrm>
                    <a:off x="4260453" y="4039492"/>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50" name="Oval 249">
                    <a:extLst>
                      <a:ext uri="{FF2B5EF4-FFF2-40B4-BE49-F238E27FC236}">
                        <a16:creationId xmlns:a16="http://schemas.microsoft.com/office/drawing/2014/main" id="{2E2FA203-893B-C919-1374-A0B849BCC2D8}"/>
                      </a:ext>
                    </a:extLst>
                  </p:cNvPr>
                  <p:cNvSpPr/>
                  <p:nvPr/>
                </p:nvSpPr>
                <p:spPr>
                  <a:xfrm>
                    <a:off x="4578367" y="4041049"/>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51" name="Oval 250">
                    <a:extLst>
                      <a:ext uri="{FF2B5EF4-FFF2-40B4-BE49-F238E27FC236}">
                        <a16:creationId xmlns:a16="http://schemas.microsoft.com/office/drawing/2014/main" id="{0704592D-7A17-777E-F973-DE463ECF2AC4}"/>
                      </a:ext>
                    </a:extLst>
                  </p:cNvPr>
                  <p:cNvSpPr/>
                  <p:nvPr/>
                </p:nvSpPr>
                <p:spPr>
                  <a:xfrm>
                    <a:off x="4786838" y="3914521"/>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52" name="Oval 251">
                    <a:extLst>
                      <a:ext uri="{FF2B5EF4-FFF2-40B4-BE49-F238E27FC236}">
                        <a16:creationId xmlns:a16="http://schemas.microsoft.com/office/drawing/2014/main" id="{BFAA34DF-9DFE-C968-2BC6-E8B3A5B85371}"/>
                      </a:ext>
                    </a:extLst>
                  </p:cNvPr>
                  <p:cNvSpPr/>
                  <p:nvPr/>
                </p:nvSpPr>
                <p:spPr>
                  <a:xfrm>
                    <a:off x="5480249" y="2255099"/>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53" name="Oval 252">
                    <a:extLst>
                      <a:ext uri="{FF2B5EF4-FFF2-40B4-BE49-F238E27FC236}">
                        <a16:creationId xmlns:a16="http://schemas.microsoft.com/office/drawing/2014/main" id="{8CB26CB2-92D2-1445-220F-91E7E3F847E9}"/>
                      </a:ext>
                    </a:extLst>
                  </p:cNvPr>
                  <p:cNvSpPr/>
                  <p:nvPr/>
                </p:nvSpPr>
                <p:spPr>
                  <a:xfrm>
                    <a:off x="5321212" y="2437046"/>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54" name="Oval 253">
                    <a:extLst>
                      <a:ext uri="{FF2B5EF4-FFF2-40B4-BE49-F238E27FC236}">
                        <a16:creationId xmlns:a16="http://schemas.microsoft.com/office/drawing/2014/main" id="{E20B6F9E-EF91-76D8-4B1C-15CD25B9C204}"/>
                      </a:ext>
                    </a:extLst>
                  </p:cNvPr>
                  <p:cNvSpPr/>
                  <p:nvPr/>
                </p:nvSpPr>
                <p:spPr>
                  <a:xfrm>
                    <a:off x="5301107" y="2247041"/>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55" name="Oval 254">
                    <a:extLst>
                      <a:ext uri="{FF2B5EF4-FFF2-40B4-BE49-F238E27FC236}">
                        <a16:creationId xmlns:a16="http://schemas.microsoft.com/office/drawing/2014/main" id="{CA3989AB-BFCE-26E2-1602-4B690BD119DF}"/>
                      </a:ext>
                    </a:extLst>
                  </p:cNvPr>
                  <p:cNvSpPr/>
                  <p:nvPr/>
                </p:nvSpPr>
                <p:spPr>
                  <a:xfrm>
                    <a:off x="5480227" y="2429284"/>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56" name="Oval 255">
                    <a:extLst>
                      <a:ext uri="{FF2B5EF4-FFF2-40B4-BE49-F238E27FC236}">
                        <a16:creationId xmlns:a16="http://schemas.microsoft.com/office/drawing/2014/main" id="{DC0288BF-BFAD-B687-F9A9-5E251160A0EE}"/>
                      </a:ext>
                    </a:extLst>
                  </p:cNvPr>
                  <p:cNvSpPr/>
                  <p:nvPr/>
                </p:nvSpPr>
                <p:spPr>
                  <a:xfrm>
                    <a:off x="4314399" y="2452416"/>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57" name="Oval 256">
                    <a:extLst>
                      <a:ext uri="{FF2B5EF4-FFF2-40B4-BE49-F238E27FC236}">
                        <a16:creationId xmlns:a16="http://schemas.microsoft.com/office/drawing/2014/main" id="{CDDF7C66-AE16-133D-6DF3-045F63094EFC}"/>
                      </a:ext>
                    </a:extLst>
                  </p:cNvPr>
                  <p:cNvSpPr/>
                  <p:nvPr/>
                </p:nvSpPr>
                <p:spPr>
                  <a:xfrm>
                    <a:off x="4305550" y="2772628"/>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58" name="Oval 257">
                    <a:extLst>
                      <a:ext uri="{FF2B5EF4-FFF2-40B4-BE49-F238E27FC236}">
                        <a16:creationId xmlns:a16="http://schemas.microsoft.com/office/drawing/2014/main" id="{48830AEA-439D-F8A4-9AC4-8180500CD7EA}"/>
                      </a:ext>
                    </a:extLst>
                  </p:cNvPr>
                  <p:cNvSpPr/>
                  <p:nvPr/>
                </p:nvSpPr>
                <p:spPr>
                  <a:xfrm>
                    <a:off x="4524861" y="2778106"/>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59" name="Oval 258">
                    <a:extLst>
                      <a:ext uri="{FF2B5EF4-FFF2-40B4-BE49-F238E27FC236}">
                        <a16:creationId xmlns:a16="http://schemas.microsoft.com/office/drawing/2014/main" id="{B5C30B2A-12F5-0C1D-ABAE-DDD513773116}"/>
                      </a:ext>
                    </a:extLst>
                  </p:cNvPr>
                  <p:cNvSpPr/>
                  <p:nvPr/>
                </p:nvSpPr>
                <p:spPr>
                  <a:xfrm>
                    <a:off x="4541898" y="2443999"/>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60" name="Oval 259">
                    <a:extLst>
                      <a:ext uri="{FF2B5EF4-FFF2-40B4-BE49-F238E27FC236}">
                        <a16:creationId xmlns:a16="http://schemas.microsoft.com/office/drawing/2014/main" id="{13930712-A588-5914-8C80-BC1B2BCEA1E3}"/>
                      </a:ext>
                    </a:extLst>
                  </p:cNvPr>
                  <p:cNvSpPr/>
                  <p:nvPr/>
                </p:nvSpPr>
                <p:spPr>
                  <a:xfrm>
                    <a:off x="4298686" y="2602094"/>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61" name="Oval 260">
                    <a:extLst>
                      <a:ext uri="{FF2B5EF4-FFF2-40B4-BE49-F238E27FC236}">
                        <a16:creationId xmlns:a16="http://schemas.microsoft.com/office/drawing/2014/main" id="{A0E84669-B980-DB1A-267D-844CA122B77F}"/>
                      </a:ext>
                    </a:extLst>
                  </p:cNvPr>
                  <p:cNvSpPr/>
                  <p:nvPr/>
                </p:nvSpPr>
                <p:spPr>
                  <a:xfrm>
                    <a:off x="4526559" y="2593584"/>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grpSp>
          </p:grpSp>
          <p:grpSp>
            <p:nvGrpSpPr>
              <p:cNvPr id="172" name="Group 171">
                <a:extLst>
                  <a:ext uri="{FF2B5EF4-FFF2-40B4-BE49-F238E27FC236}">
                    <a16:creationId xmlns:a16="http://schemas.microsoft.com/office/drawing/2014/main" id="{7A882447-BB4E-0B4D-112D-D4ACE3F9211B}"/>
                  </a:ext>
                </a:extLst>
              </p:cNvPr>
              <p:cNvGrpSpPr/>
              <p:nvPr/>
            </p:nvGrpSpPr>
            <p:grpSpPr>
              <a:xfrm>
                <a:off x="6008760" y="1821459"/>
                <a:ext cx="2070235" cy="2092531"/>
                <a:chOff x="6008760" y="1821459"/>
                <a:chExt cx="2070235" cy="2092531"/>
              </a:xfrm>
            </p:grpSpPr>
            <p:sp>
              <p:nvSpPr>
                <p:cNvPr id="173" name="Oval 172">
                  <a:extLst>
                    <a:ext uri="{FF2B5EF4-FFF2-40B4-BE49-F238E27FC236}">
                      <a16:creationId xmlns:a16="http://schemas.microsoft.com/office/drawing/2014/main" id="{4A13AD85-7BEA-72EE-496E-4BB206201709}"/>
                    </a:ext>
                  </a:extLst>
                </p:cNvPr>
                <p:cNvSpPr/>
                <p:nvPr/>
              </p:nvSpPr>
              <p:spPr>
                <a:xfrm>
                  <a:off x="7143273" y="1825738"/>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174" name="Oval 173">
                  <a:extLst>
                    <a:ext uri="{FF2B5EF4-FFF2-40B4-BE49-F238E27FC236}">
                      <a16:creationId xmlns:a16="http://schemas.microsoft.com/office/drawing/2014/main" id="{4DE9ED59-B224-8B3A-BC62-C64E5E6B1C43}"/>
                    </a:ext>
                  </a:extLst>
                </p:cNvPr>
                <p:cNvSpPr/>
                <p:nvPr/>
              </p:nvSpPr>
              <p:spPr>
                <a:xfrm>
                  <a:off x="7353390" y="1826988"/>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175" name="Oval 174">
                  <a:extLst>
                    <a:ext uri="{FF2B5EF4-FFF2-40B4-BE49-F238E27FC236}">
                      <a16:creationId xmlns:a16="http://schemas.microsoft.com/office/drawing/2014/main" id="{700D6558-9A10-6034-9CA7-D27881A0F434}"/>
                    </a:ext>
                  </a:extLst>
                </p:cNvPr>
                <p:cNvSpPr/>
                <p:nvPr/>
              </p:nvSpPr>
              <p:spPr>
                <a:xfrm>
                  <a:off x="7643572" y="1835180"/>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176" name="Oval 175">
                  <a:extLst>
                    <a:ext uri="{FF2B5EF4-FFF2-40B4-BE49-F238E27FC236}">
                      <a16:creationId xmlns:a16="http://schemas.microsoft.com/office/drawing/2014/main" id="{ECE1EB87-3AB6-FFF1-7C8B-0D6483C3E990}"/>
                    </a:ext>
                  </a:extLst>
                </p:cNvPr>
                <p:cNvSpPr/>
                <p:nvPr/>
              </p:nvSpPr>
              <p:spPr>
                <a:xfrm>
                  <a:off x="7843864" y="1821459"/>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grpSp>
              <p:nvGrpSpPr>
                <p:cNvPr id="177" name="Group 176">
                  <a:extLst>
                    <a:ext uri="{FF2B5EF4-FFF2-40B4-BE49-F238E27FC236}">
                      <a16:creationId xmlns:a16="http://schemas.microsoft.com/office/drawing/2014/main" id="{FC270864-9F51-D356-1E96-0F605695B3C1}"/>
                    </a:ext>
                  </a:extLst>
                </p:cNvPr>
                <p:cNvGrpSpPr/>
                <p:nvPr/>
              </p:nvGrpSpPr>
              <p:grpSpPr>
                <a:xfrm>
                  <a:off x="6008760" y="1835180"/>
                  <a:ext cx="2070235" cy="2078810"/>
                  <a:chOff x="6008760" y="1835180"/>
                  <a:chExt cx="2070235" cy="2078810"/>
                </a:xfrm>
              </p:grpSpPr>
              <p:sp>
                <p:nvSpPr>
                  <p:cNvPr id="178" name="Oval 177">
                    <a:extLst>
                      <a:ext uri="{FF2B5EF4-FFF2-40B4-BE49-F238E27FC236}">
                        <a16:creationId xmlns:a16="http://schemas.microsoft.com/office/drawing/2014/main" id="{BDD71BA3-5B4B-0C78-3EDA-BEAEA31B9994}"/>
                      </a:ext>
                    </a:extLst>
                  </p:cNvPr>
                  <p:cNvSpPr/>
                  <p:nvPr/>
                </p:nvSpPr>
                <p:spPr>
                  <a:xfrm>
                    <a:off x="7105281" y="2217768"/>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179" name="Oval 178">
                    <a:extLst>
                      <a:ext uri="{FF2B5EF4-FFF2-40B4-BE49-F238E27FC236}">
                        <a16:creationId xmlns:a16="http://schemas.microsoft.com/office/drawing/2014/main" id="{1AF00A2B-70B7-3AE7-EB7A-47A25A8C66A8}"/>
                      </a:ext>
                    </a:extLst>
                  </p:cNvPr>
                  <p:cNvSpPr/>
                  <p:nvPr/>
                </p:nvSpPr>
                <p:spPr>
                  <a:xfrm>
                    <a:off x="7109860" y="2349929"/>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180" name="Oval 179">
                    <a:extLst>
                      <a:ext uri="{FF2B5EF4-FFF2-40B4-BE49-F238E27FC236}">
                        <a16:creationId xmlns:a16="http://schemas.microsoft.com/office/drawing/2014/main" id="{BBA1CDF1-7A77-1C67-BC7B-43DD7E00D5ED}"/>
                      </a:ext>
                    </a:extLst>
                  </p:cNvPr>
                  <p:cNvSpPr/>
                  <p:nvPr/>
                </p:nvSpPr>
                <p:spPr>
                  <a:xfrm>
                    <a:off x="7240459" y="2498396"/>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181" name="Oval 180">
                    <a:extLst>
                      <a:ext uri="{FF2B5EF4-FFF2-40B4-BE49-F238E27FC236}">
                        <a16:creationId xmlns:a16="http://schemas.microsoft.com/office/drawing/2014/main" id="{78BC08A3-D8D1-A31B-2273-92E04C5C40CB}"/>
                      </a:ext>
                    </a:extLst>
                  </p:cNvPr>
                  <p:cNvSpPr/>
                  <p:nvPr/>
                </p:nvSpPr>
                <p:spPr>
                  <a:xfrm>
                    <a:off x="7394917" y="2225135"/>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182" name="Oval 181">
                    <a:extLst>
                      <a:ext uri="{FF2B5EF4-FFF2-40B4-BE49-F238E27FC236}">
                        <a16:creationId xmlns:a16="http://schemas.microsoft.com/office/drawing/2014/main" id="{5A135391-B2DD-80C6-255D-3BEF784546EF}"/>
                      </a:ext>
                    </a:extLst>
                  </p:cNvPr>
                  <p:cNvSpPr/>
                  <p:nvPr/>
                </p:nvSpPr>
                <p:spPr>
                  <a:xfrm>
                    <a:off x="7375191" y="2366518"/>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183" name="Oval 182">
                    <a:extLst>
                      <a:ext uri="{FF2B5EF4-FFF2-40B4-BE49-F238E27FC236}">
                        <a16:creationId xmlns:a16="http://schemas.microsoft.com/office/drawing/2014/main" id="{784EA12F-2973-53E4-581B-1380EAA92F95}"/>
                      </a:ext>
                    </a:extLst>
                  </p:cNvPr>
                  <p:cNvSpPr/>
                  <p:nvPr/>
                </p:nvSpPr>
                <p:spPr>
                  <a:xfrm>
                    <a:off x="7751543" y="2396156"/>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184" name="Oval 183">
                    <a:extLst>
                      <a:ext uri="{FF2B5EF4-FFF2-40B4-BE49-F238E27FC236}">
                        <a16:creationId xmlns:a16="http://schemas.microsoft.com/office/drawing/2014/main" id="{FCC06009-1DF3-AE5F-37F5-145364CBCBD4}"/>
                      </a:ext>
                    </a:extLst>
                  </p:cNvPr>
                  <p:cNvSpPr/>
                  <p:nvPr/>
                </p:nvSpPr>
                <p:spPr>
                  <a:xfrm>
                    <a:off x="7607222" y="2537213"/>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185" name="Oval 184">
                    <a:extLst>
                      <a:ext uri="{FF2B5EF4-FFF2-40B4-BE49-F238E27FC236}">
                        <a16:creationId xmlns:a16="http://schemas.microsoft.com/office/drawing/2014/main" id="{8E1424B2-189A-4672-379B-3698A3187FE4}"/>
                      </a:ext>
                    </a:extLst>
                  </p:cNvPr>
                  <p:cNvSpPr/>
                  <p:nvPr/>
                </p:nvSpPr>
                <p:spPr>
                  <a:xfrm>
                    <a:off x="7583348" y="2677730"/>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186" name="Oval 185">
                    <a:extLst>
                      <a:ext uri="{FF2B5EF4-FFF2-40B4-BE49-F238E27FC236}">
                        <a16:creationId xmlns:a16="http://schemas.microsoft.com/office/drawing/2014/main" id="{EF97E4EC-2B22-7A27-A453-2443300A1BCA}"/>
                      </a:ext>
                    </a:extLst>
                  </p:cNvPr>
                  <p:cNvSpPr/>
                  <p:nvPr/>
                </p:nvSpPr>
                <p:spPr>
                  <a:xfrm>
                    <a:off x="7867123" y="2528838"/>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187" name="Oval 186">
                    <a:extLst>
                      <a:ext uri="{FF2B5EF4-FFF2-40B4-BE49-F238E27FC236}">
                        <a16:creationId xmlns:a16="http://schemas.microsoft.com/office/drawing/2014/main" id="{27990927-7053-A31A-96E5-E7BB4EEB040D}"/>
                      </a:ext>
                    </a:extLst>
                  </p:cNvPr>
                  <p:cNvSpPr/>
                  <p:nvPr/>
                </p:nvSpPr>
                <p:spPr>
                  <a:xfrm>
                    <a:off x="7882178" y="2677730"/>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188" name="Oval 187">
                    <a:extLst>
                      <a:ext uri="{FF2B5EF4-FFF2-40B4-BE49-F238E27FC236}">
                        <a16:creationId xmlns:a16="http://schemas.microsoft.com/office/drawing/2014/main" id="{8D40AEE3-16E3-B955-4AC6-B1B9E96D5D77}"/>
                      </a:ext>
                    </a:extLst>
                  </p:cNvPr>
                  <p:cNvSpPr/>
                  <p:nvPr/>
                </p:nvSpPr>
                <p:spPr>
                  <a:xfrm>
                    <a:off x="6517242" y="3772933"/>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189" name="Oval 188">
                    <a:extLst>
                      <a:ext uri="{FF2B5EF4-FFF2-40B4-BE49-F238E27FC236}">
                        <a16:creationId xmlns:a16="http://schemas.microsoft.com/office/drawing/2014/main" id="{1B065294-D8F5-8D0A-745A-CAA9EC1C4A75}"/>
                      </a:ext>
                    </a:extLst>
                  </p:cNvPr>
                  <p:cNvSpPr/>
                  <p:nvPr/>
                </p:nvSpPr>
                <p:spPr>
                  <a:xfrm>
                    <a:off x="7212577" y="3281756"/>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190" name="Oval 189">
                    <a:extLst>
                      <a:ext uri="{FF2B5EF4-FFF2-40B4-BE49-F238E27FC236}">
                        <a16:creationId xmlns:a16="http://schemas.microsoft.com/office/drawing/2014/main" id="{23B23096-0CB0-274C-8C6B-40F0FE9C3376}"/>
                      </a:ext>
                    </a:extLst>
                  </p:cNvPr>
                  <p:cNvSpPr/>
                  <p:nvPr/>
                </p:nvSpPr>
                <p:spPr>
                  <a:xfrm>
                    <a:off x="7508381" y="3316621"/>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191" name="Oval 190">
                    <a:extLst>
                      <a:ext uri="{FF2B5EF4-FFF2-40B4-BE49-F238E27FC236}">
                        <a16:creationId xmlns:a16="http://schemas.microsoft.com/office/drawing/2014/main" id="{09D6CC7A-C1C2-1ED5-9695-D5343EA1200E}"/>
                      </a:ext>
                    </a:extLst>
                  </p:cNvPr>
                  <p:cNvSpPr/>
                  <p:nvPr/>
                </p:nvSpPr>
                <p:spPr>
                  <a:xfrm>
                    <a:off x="7658738" y="3316621"/>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192" name="Oval 191">
                    <a:extLst>
                      <a:ext uri="{FF2B5EF4-FFF2-40B4-BE49-F238E27FC236}">
                        <a16:creationId xmlns:a16="http://schemas.microsoft.com/office/drawing/2014/main" id="{2F188C1F-9E84-51B2-0C2E-DB9ED38551CE}"/>
                      </a:ext>
                    </a:extLst>
                  </p:cNvPr>
                  <p:cNvSpPr/>
                  <p:nvPr/>
                </p:nvSpPr>
                <p:spPr>
                  <a:xfrm>
                    <a:off x="7817775" y="3334587"/>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193" name="Oval 192">
                    <a:extLst>
                      <a:ext uri="{FF2B5EF4-FFF2-40B4-BE49-F238E27FC236}">
                        <a16:creationId xmlns:a16="http://schemas.microsoft.com/office/drawing/2014/main" id="{35CC1F71-6549-7E4A-A65E-F5D5A5915446}"/>
                      </a:ext>
                    </a:extLst>
                  </p:cNvPr>
                  <p:cNvSpPr/>
                  <p:nvPr/>
                </p:nvSpPr>
                <p:spPr>
                  <a:xfrm>
                    <a:off x="7913321" y="2993691"/>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194" name="Oval 193">
                    <a:extLst>
                      <a:ext uri="{FF2B5EF4-FFF2-40B4-BE49-F238E27FC236}">
                        <a16:creationId xmlns:a16="http://schemas.microsoft.com/office/drawing/2014/main" id="{02B40033-7BCB-222A-472D-47888D9F7664}"/>
                      </a:ext>
                    </a:extLst>
                  </p:cNvPr>
                  <p:cNvSpPr/>
                  <p:nvPr/>
                </p:nvSpPr>
                <p:spPr>
                  <a:xfrm>
                    <a:off x="7919958" y="3144062"/>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195" name="Oval 194">
                    <a:extLst>
                      <a:ext uri="{FF2B5EF4-FFF2-40B4-BE49-F238E27FC236}">
                        <a16:creationId xmlns:a16="http://schemas.microsoft.com/office/drawing/2014/main" id="{A5A899EE-2F49-CAE0-8038-EEF98391A22B}"/>
                      </a:ext>
                    </a:extLst>
                  </p:cNvPr>
                  <p:cNvSpPr/>
                  <p:nvPr/>
                </p:nvSpPr>
                <p:spPr>
                  <a:xfrm>
                    <a:off x="7762864" y="2865641"/>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196" name="Oval 195">
                    <a:extLst>
                      <a:ext uri="{FF2B5EF4-FFF2-40B4-BE49-F238E27FC236}">
                        <a16:creationId xmlns:a16="http://schemas.microsoft.com/office/drawing/2014/main" id="{100535F8-D91E-483C-4053-9D434873B0A5}"/>
                      </a:ext>
                    </a:extLst>
                  </p:cNvPr>
                  <p:cNvSpPr/>
                  <p:nvPr/>
                </p:nvSpPr>
                <p:spPr>
                  <a:xfrm>
                    <a:off x="7523414" y="2858003"/>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grpSp>
                <p:nvGrpSpPr>
                  <p:cNvPr id="197" name="Group 196">
                    <a:extLst>
                      <a:ext uri="{FF2B5EF4-FFF2-40B4-BE49-F238E27FC236}">
                        <a16:creationId xmlns:a16="http://schemas.microsoft.com/office/drawing/2014/main" id="{09B5A10D-F458-1A43-B500-974BB4666838}"/>
                      </a:ext>
                    </a:extLst>
                  </p:cNvPr>
                  <p:cNvGrpSpPr/>
                  <p:nvPr/>
                </p:nvGrpSpPr>
                <p:grpSpPr>
                  <a:xfrm>
                    <a:off x="6008760" y="1835180"/>
                    <a:ext cx="668067" cy="942926"/>
                    <a:chOff x="6008760" y="1835180"/>
                    <a:chExt cx="668067" cy="942926"/>
                  </a:xfrm>
                </p:grpSpPr>
                <p:sp>
                  <p:nvSpPr>
                    <p:cNvPr id="198" name="Oval 197">
                      <a:extLst>
                        <a:ext uri="{FF2B5EF4-FFF2-40B4-BE49-F238E27FC236}">
                          <a16:creationId xmlns:a16="http://schemas.microsoft.com/office/drawing/2014/main" id="{00E152EF-8B91-0E93-CA0C-618CC56E8971}"/>
                        </a:ext>
                      </a:extLst>
                    </p:cNvPr>
                    <p:cNvSpPr/>
                    <p:nvPr/>
                  </p:nvSpPr>
                  <p:spPr>
                    <a:xfrm>
                      <a:off x="6188854" y="1962516"/>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199" name="Oval 198">
                      <a:extLst>
                        <a:ext uri="{FF2B5EF4-FFF2-40B4-BE49-F238E27FC236}">
                          <a16:creationId xmlns:a16="http://schemas.microsoft.com/office/drawing/2014/main" id="{F774D7B5-D456-46B4-9272-65B1564D5983}"/>
                        </a:ext>
                      </a:extLst>
                    </p:cNvPr>
                    <p:cNvSpPr/>
                    <p:nvPr/>
                  </p:nvSpPr>
                  <p:spPr>
                    <a:xfrm>
                      <a:off x="6324308" y="2033285"/>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00" name="Oval 199">
                      <a:extLst>
                        <a:ext uri="{FF2B5EF4-FFF2-40B4-BE49-F238E27FC236}">
                          <a16:creationId xmlns:a16="http://schemas.microsoft.com/office/drawing/2014/main" id="{507BC23F-EF61-7AB1-3D7F-3C7E245CD89E}"/>
                        </a:ext>
                      </a:extLst>
                    </p:cNvPr>
                    <p:cNvSpPr/>
                    <p:nvPr/>
                  </p:nvSpPr>
                  <p:spPr>
                    <a:xfrm>
                      <a:off x="6347891" y="1835180"/>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1" i="0" u="none" strike="noStrike" kern="0" cap="none" spc="0" normalizeH="0" baseline="0" noProof="0" dirty="0">
                        <a:ln>
                          <a:noFill/>
                        </a:ln>
                        <a:solidFill>
                          <a:srgbClr val="FFFFFF"/>
                        </a:solidFill>
                        <a:effectLst/>
                        <a:uLnTx/>
                        <a:uFillTx/>
                        <a:latin typeface="Calibri"/>
                        <a:ea typeface="+mn-ea"/>
                        <a:cs typeface="+mn-cs"/>
                      </a:endParaRPr>
                    </a:p>
                  </p:txBody>
                </p:sp>
                <p:sp>
                  <p:nvSpPr>
                    <p:cNvPr id="201" name="Oval 200">
                      <a:extLst>
                        <a:ext uri="{FF2B5EF4-FFF2-40B4-BE49-F238E27FC236}">
                          <a16:creationId xmlns:a16="http://schemas.microsoft.com/office/drawing/2014/main" id="{59D2D469-0D59-BE4E-AA93-39444D6A2432}"/>
                        </a:ext>
                      </a:extLst>
                    </p:cNvPr>
                    <p:cNvSpPr/>
                    <p:nvPr/>
                  </p:nvSpPr>
                  <p:spPr>
                    <a:xfrm>
                      <a:off x="6490448" y="1930892"/>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02" name="Oval 201">
                      <a:extLst>
                        <a:ext uri="{FF2B5EF4-FFF2-40B4-BE49-F238E27FC236}">
                          <a16:creationId xmlns:a16="http://schemas.microsoft.com/office/drawing/2014/main" id="{26398964-DD54-D65E-CEC7-E4C364169BEF}"/>
                        </a:ext>
                      </a:extLst>
                    </p:cNvPr>
                    <p:cNvSpPr/>
                    <p:nvPr/>
                  </p:nvSpPr>
                  <p:spPr>
                    <a:xfrm>
                      <a:off x="6008760" y="1962515"/>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03" name="Oval 202">
                      <a:extLst>
                        <a:ext uri="{FF2B5EF4-FFF2-40B4-BE49-F238E27FC236}">
                          <a16:creationId xmlns:a16="http://schemas.microsoft.com/office/drawing/2014/main" id="{87599A48-1CA5-D102-D82B-AC3639683243}"/>
                        </a:ext>
                      </a:extLst>
                    </p:cNvPr>
                    <p:cNvSpPr/>
                    <p:nvPr/>
                  </p:nvSpPr>
                  <p:spPr>
                    <a:xfrm>
                      <a:off x="6506928" y="1843831"/>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04" name="Oval 203">
                      <a:extLst>
                        <a:ext uri="{FF2B5EF4-FFF2-40B4-BE49-F238E27FC236}">
                          <a16:creationId xmlns:a16="http://schemas.microsoft.com/office/drawing/2014/main" id="{5752B615-2814-AEFF-E1E4-4E38ACCC43D7}"/>
                        </a:ext>
                      </a:extLst>
                    </p:cNvPr>
                    <p:cNvSpPr/>
                    <p:nvPr/>
                  </p:nvSpPr>
                  <p:spPr>
                    <a:xfrm>
                      <a:off x="6070191" y="2309710"/>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05" name="Oval 204">
                      <a:extLst>
                        <a:ext uri="{FF2B5EF4-FFF2-40B4-BE49-F238E27FC236}">
                          <a16:creationId xmlns:a16="http://schemas.microsoft.com/office/drawing/2014/main" id="{B2BE017B-7685-24DC-09C0-C609C97E5606}"/>
                        </a:ext>
                      </a:extLst>
                    </p:cNvPr>
                    <p:cNvSpPr/>
                    <p:nvPr/>
                  </p:nvSpPr>
                  <p:spPr>
                    <a:xfrm>
                      <a:off x="6206612" y="2319606"/>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06" name="Oval 205">
                      <a:extLst>
                        <a:ext uri="{FF2B5EF4-FFF2-40B4-BE49-F238E27FC236}">
                          <a16:creationId xmlns:a16="http://schemas.microsoft.com/office/drawing/2014/main" id="{F30D0A65-3E05-4B8C-0778-2C1C8DB83CD5}"/>
                        </a:ext>
                      </a:extLst>
                    </p:cNvPr>
                    <p:cNvSpPr/>
                    <p:nvPr/>
                  </p:nvSpPr>
                  <p:spPr>
                    <a:xfrm>
                      <a:off x="6310338" y="2319605"/>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07" name="Oval 206">
                      <a:extLst>
                        <a:ext uri="{FF2B5EF4-FFF2-40B4-BE49-F238E27FC236}">
                          <a16:creationId xmlns:a16="http://schemas.microsoft.com/office/drawing/2014/main" id="{BDB0A9A7-A940-8AD6-95BA-684C80740929}"/>
                        </a:ext>
                      </a:extLst>
                    </p:cNvPr>
                    <p:cNvSpPr/>
                    <p:nvPr/>
                  </p:nvSpPr>
                  <p:spPr>
                    <a:xfrm>
                      <a:off x="6414064" y="2326374"/>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08" name="Oval 207">
                      <a:extLst>
                        <a:ext uri="{FF2B5EF4-FFF2-40B4-BE49-F238E27FC236}">
                          <a16:creationId xmlns:a16="http://schemas.microsoft.com/office/drawing/2014/main" id="{3CE5D92F-1130-82C4-3C4B-AE4859D0CD59}"/>
                        </a:ext>
                      </a:extLst>
                    </p:cNvPr>
                    <p:cNvSpPr/>
                    <p:nvPr/>
                  </p:nvSpPr>
                  <p:spPr>
                    <a:xfrm>
                      <a:off x="6517790" y="2414303"/>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09" name="Oval 208">
                      <a:extLst>
                        <a:ext uri="{FF2B5EF4-FFF2-40B4-BE49-F238E27FC236}">
                          <a16:creationId xmlns:a16="http://schemas.microsoft.com/office/drawing/2014/main" id="{F1965526-C977-3D8D-A329-9894BE5B426D}"/>
                        </a:ext>
                      </a:extLst>
                    </p:cNvPr>
                    <p:cNvSpPr/>
                    <p:nvPr/>
                  </p:nvSpPr>
                  <p:spPr>
                    <a:xfrm>
                      <a:off x="6507375" y="2541358"/>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10" name="Oval 209">
                      <a:extLst>
                        <a:ext uri="{FF2B5EF4-FFF2-40B4-BE49-F238E27FC236}">
                          <a16:creationId xmlns:a16="http://schemas.microsoft.com/office/drawing/2014/main" id="{413CB2F2-9150-F402-505E-1968BEADB7B1}"/>
                        </a:ext>
                      </a:extLst>
                    </p:cNvPr>
                    <p:cNvSpPr/>
                    <p:nvPr/>
                  </p:nvSpPr>
                  <p:spPr>
                    <a:xfrm>
                      <a:off x="6086955" y="2637049"/>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11" name="Oval 210">
                      <a:extLst>
                        <a:ext uri="{FF2B5EF4-FFF2-40B4-BE49-F238E27FC236}">
                          <a16:creationId xmlns:a16="http://schemas.microsoft.com/office/drawing/2014/main" id="{1EC17831-AAFA-6DF4-D70C-2DD6CEED369E}"/>
                        </a:ext>
                      </a:extLst>
                    </p:cNvPr>
                    <p:cNvSpPr/>
                    <p:nvPr/>
                  </p:nvSpPr>
                  <p:spPr>
                    <a:xfrm>
                      <a:off x="6190352" y="2637049"/>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12" name="Oval 211">
                      <a:extLst>
                        <a:ext uri="{FF2B5EF4-FFF2-40B4-BE49-F238E27FC236}">
                          <a16:creationId xmlns:a16="http://schemas.microsoft.com/office/drawing/2014/main" id="{28D41547-8C77-415D-957B-20D9AE671425}"/>
                        </a:ext>
                      </a:extLst>
                    </p:cNvPr>
                    <p:cNvSpPr/>
                    <p:nvPr/>
                  </p:nvSpPr>
                  <p:spPr>
                    <a:xfrm>
                      <a:off x="6374991" y="2614510"/>
                      <a:ext cx="159037" cy="141057"/>
                    </a:xfrm>
                    <a:prstGeom prst="ellipse">
                      <a:avLst/>
                    </a:prstGeom>
                    <a:solidFill>
                      <a:srgbClr val="388979">
                        <a:alpha val="40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a:ea typeface="+mn-ea"/>
                        <a:cs typeface="+mn-cs"/>
                      </a:endParaRPr>
                    </a:p>
                  </p:txBody>
                </p:sp>
              </p:grpSp>
            </p:grpSp>
          </p:grpSp>
        </p:grpSp>
      </p:grpSp>
      <p:sp>
        <p:nvSpPr>
          <p:cNvPr id="404" name="TextBox 403">
            <a:extLst>
              <a:ext uri="{FF2B5EF4-FFF2-40B4-BE49-F238E27FC236}">
                <a16:creationId xmlns:a16="http://schemas.microsoft.com/office/drawing/2014/main" id="{65434117-15AC-CAE3-0B8A-735A4856D809}"/>
              </a:ext>
            </a:extLst>
          </p:cNvPr>
          <p:cNvSpPr txBox="1"/>
          <p:nvPr/>
        </p:nvSpPr>
        <p:spPr>
          <a:xfrm>
            <a:off x="5011853" y="1696358"/>
            <a:ext cx="1772252" cy="614399"/>
          </a:xfrm>
          <a:prstGeom prst="rect">
            <a:avLst/>
          </a:prstGeom>
          <a:noFill/>
        </p:spPr>
        <p:txBody>
          <a:bodyPr wrap="square" rtlCol="0">
            <a:spAutoFit/>
          </a:bodyPr>
          <a:lstStyle/>
          <a:p>
            <a:pPr marL="0" marR="0" lvl="0" indent="0" algn="l" defTabSz="914400" rtl="0" eaLnBrk="1" fontAlgn="auto" latinLnBrk="0" hangingPunct="1">
              <a:lnSpc>
                <a:spcPts val="2100"/>
              </a:lnSpc>
              <a:spcBef>
                <a:spcPts val="0"/>
              </a:spcBef>
              <a:spcAft>
                <a:spcPts val="0"/>
              </a:spcAft>
              <a:buClrTx/>
              <a:buSzTx/>
              <a:buFontTx/>
              <a:buNone/>
              <a:tabLst/>
              <a:defRPr/>
            </a:pPr>
            <a:r>
              <a:rPr kumimoji="0" lang="en-CA" sz="1600" b="0" i="0" u="none" strike="noStrike" kern="1200" cap="none" spc="0" normalizeH="0" baseline="0" noProof="0" dirty="0">
                <a:ln>
                  <a:noFill/>
                </a:ln>
                <a:solidFill>
                  <a:srgbClr val="A8CE75">
                    <a:lumMod val="75000"/>
                  </a:srgbClr>
                </a:solidFill>
                <a:effectLst/>
                <a:uLnTx/>
                <a:uFillTx/>
                <a:latin typeface="Avenir Next LT Pro Demi" panose="020B0704020202020204" pitchFamily="34" charset="0"/>
                <a:ea typeface="+mn-ea"/>
                <a:cs typeface="+mn-cs"/>
              </a:rPr>
              <a:t>WORKSTATION</a:t>
            </a:r>
          </a:p>
          <a:p>
            <a:pPr marL="0" marR="0" lvl="0" indent="0" algn="l" defTabSz="914400" rtl="0" eaLnBrk="1" fontAlgn="auto" latinLnBrk="0" hangingPunct="1">
              <a:lnSpc>
                <a:spcPts val="2100"/>
              </a:lnSpc>
              <a:spcBef>
                <a:spcPts val="0"/>
              </a:spcBef>
              <a:spcAft>
                <a:spcPts val="0"/>
              </a:spcAft>
              <a:buClrTx/>
              <a:buSzTx/>
              <a:buFontTx/>
              <a:buNone/>
              <a:tabLst/>
              <a:defRPr/>
            </a:pPr>
            <a:r>
              <a:rPr kumimoji="0" lang="en-CA" sz="1600" b="0" i="0" u="none" strike="noStrike" kern="1200" cap="none" spc="0" normalizeH="0" baseline="0" noProof="0" dirty="0">
                <a:ln>
                  <a:noFill/>
                </a:ln>
                <a:solidFill>
                  <a:srgbClr val="409786"/>
                </a:solidFill>
                <a:effectLst/>
                <a:uLnTx/>
                <a:uFillTx/>
                <a:latin typeface="Avenir Next LT Pro Demi" panose="020B0704020202020204" pitchFamily="34" charset="0"/>
                <a:ea typeface="+mn-ea"/>
                <a:cs typeface="+mn-cs"/>
              </a:rPr>
              <a:t>WORKPOINT</a:t>
            </a:r>
          </a:p>
        </p:txBody>
      </p:sp>
    </p:spTree>
    <p:extLst>
      <p:ext uri="{BB962C8B-B14F-4D97-AF65-F5344CB8AC3E}">
        <p14:creationId xmlns:p14="http://schemas.microsoft.com/office/powerpoint/2010/main" val="11539738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1" name="Rectangle 530">
            <a:extLst>
              <a:ext uri="{FF2B5EF4-FFF2-40B4-BE49-F238E27FC236}">
                <a16:creationId xmlns:a16="http://schemas.microsoft.com/office/drawing/2014/main" id="{01F46DB5-85CD-9626-E337-4E708245FF7A}"/>
              </a:ext>
            </a:extLst>
          </p:cNvPr>
          <p:cNvSpPr/>
          <p:nvPr/>
        </p:nvSpPr>
        <p:spPr>
          <a:xfrm>
            <a:off x="4550735" y="1032520"/>
            <a:ext cx="7654468" cy="46824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2" name="Title 1">
            <a:extLst>
              <a:ext uri="{FF2B5EF4-FFF2-40B4-BE49-F238E27FC236}">
                <a16:creationId xmlns:a16="http://schemas.microsoft.com/office/drawing/2014/main" id="{A815345A-760D-06D6-9FC0-8AE0AAC067E2}"/>
              </a:ext>
            </a:extLst>
          </p:cNvPr>
          <p:cNvSpPr>
            <a:spLocks noGrp="1"/>
          </p:cNvSpPr>
          <p:nvPr>
            <p:ph type="title"/>
          </p:nvPr>
        </p:nvSpPr>
        <p:spPr>
          <a:xfrm>
            <a:off x="245304" y="188640"/>
            <a:ext cx="11333888" cy="843880"/>
          </a:xfrm>
        </p:spPr>
        <p:txBody>
          <a:bodyPr anchor="ctr"/>
          <a:lstStyle/>
          <a:p>
            <a:pPr algn="l"/>
            <a:r>
              <a:rPr kumimoji="0" lang="en-US" sz="2800" b="0" i="0" u="none" strike="noStrike" kern="1200" cap="none" spc="0" normalizeH="0" baseline="0" noProof="0" dirty="0">
                <a:ln>
                  <a:noFill/>
                </a:ln>
                <a:solidFill>
                  <a:srgbClr val="000000"/>
                </a:solidFill>
                <a:effectLst/>
                <a:uLnTx/>
                <a:uFillTx/>
                <a:latin typeface="Avenir Next LT Pro Demi" panose="020B0704020202020204" pitchFamily="34" charset="0"/>
                <a:cs typeface="Arial" panose="020B0604020202020204" pitchFamily="34" charset="0"/>
              </a:rPr>
              <a:t>Space Booking </a:t>
            </a:r>
            <a:r>
              <a:rPr lang="en-US" sz="2800" b="0" dirty="0">
                <a:solidFill>
                  <a:srgbClr val="000000"/>
                </a:solidFill>
                <a:latin typeface="Avenir Next LT Pro Demi" panose="020B0704020202020204" pitchFamily="34" charset="0"/>
                <a:cs typeface="Arial" panose="020B0604020202020204" pitchFamily="34" charset="0"/>
              </a:rPr>
              <a:t>Considerations for       GCworkplace</a:t>
            </a:r>
            <a:endParaRPr lang="en-CA" sz="2800" dirty="0">
              <a:latin typeface="Avenir Next LT Pro Demi" panose="020B0704020202020204" pitchFamily="34" charset="0"/>
            </a:endParaRPr>
          </a:p>
        </p:txBody>
      </p:sp>
      <p:sp>
        <p:nvSpPr>
          <p:cNvPr id="4" name="TextBox 3">
            <a:extLst>
              <a:ext uri="{FF2B5EF4-FFF2-40B4-BE49-F238E27FC236}">
                <a16:creationId xmlns:a16="http://schemas.microsoft.com/office/drawing/2014/main" id="{50356803-FC16-EDD3-41D2-F12ED660D11D}"/>
              </a:ext>
            </a:extLst>
          </p:cNvPr>
          <p:cNvSpPr txBox="1"/>
          <p:nvPr/>
        </p:nvSpPr>
        <p:spPr>
          <a:xfrm>
            <a:off x="0" y="1032520"/>
            <a:ext cx="4380374" cy="4682480"/>
          </a:xfrm>
          <a:prstGeom prst="rect">
            <a:avLst/>
          </a:prstGeom>
          <a:solidFill>
            <a:srgbClr val="FFFFFF"/>
          </a:solidFill>
          <a:ln>
            <a:noFill/>
          </a:ln>
        </p:spPr>
        <p:txBody>
          <a:bodyPr wrap="square" lIns="360000" tIns="252000" rIns="252000" bIns="252000" rtlCol="0" anchor="ctr" anchorCtr="0">
            <a:noAutofit/>
          </a:bodyPr>
          <a:lstStyle/>
          <a:p>
            <a:pPr marL="0" marR="0" lvl="0" indent="0" algn="l" defTabSz="914400" rtl="0" eaLnBrk="1" fontAlgn="auto" latinLnBrk="0" hangingPunct="1">
              <a:lnSpc>
                <a:spcPts val="3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rPr>
              <a:t>Aside from meeting rooms, a “general admission” booking prior to using a GCworkplace will ensure occupancy levels are managed while allowing occupants to freely use the entire workplace based on their own individual needs and preferences. Requiring employees to book specific workpoints ahead of time goes against the flexible intended use of GCworkplace. </a:t>
            </a:r>
          </a:p>
        </p:txBody>
      </p:sp>
      <p:pic>
        <p:nvPicPr>
          <p:cNvPr id="5" name="Graphic 4" descr="Laptop outline">
            <a:extLst>
              <a:ext uri="{FF2B5EF4-FFF2-40B4-BE49-F238E27FC236}">
                <a16:creationId xmlns:a16="http://schemas.microsoft.com/office/drawing/2014/main" id="{D18B9AB1-807C-6C72-8262-A30B33819B9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816359" y="936337"/>
            <a:ext cx="4481082" cy="4481082"/>
          </a:xfrm>
          <a:prstGeom prst="rect">
            <a:avLst/>
          </a:prstGeom>
        </p:spPr>
      </p:pic>
      <p:pic>
        <p:nvPicPr>
          <p:cNvPr id="7" name="Graphic 6" descr="User with solid fill">
            <a:extLst>
              <a:ext uri="{FF2B5EF4-FFF2-40B4-BE49-F238E27FC236}">
                <a16:creationId xmlns:a16="http://schemas.microsoft.com/office/drawing/2014/main" id="{041CF37A-4375-807F-EAA4-9AC5BC71CE4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645180" y="1641978"/>
            <a:ext cx="4183502" cy="4183502"/>
          </a:xfrm>
          <a:prstGeom prst="rect">
            <a:avLst/>
          </a:prstGeom>
        </p:spPr>
      </p:pic>
      <p:sp>
        <p:nvSpPr>
          <p:cNvPr id="8" name="TextBox 7">
            <a:extLst>
              <a:ext uri="{FF2B5EF4-FFF2-40B4-BE49-F238E27FC236}">
                <a16:creationId xmlns:a16="http://schemas.microsoft.com/office/drawing/2014/main" id="{22CF9901-6BAC-A823-F546-73FF8786BE90}"/>
              </a:ext>
            </a:extLst>
          </p:cNvPr>
          <p:cNvSpPr txBox="1"/>
          <p:nvPr/>
        </p:nvSpPr>
        <p:spPr>
          <a:xfrm>
            <a:off x="7844589" y="2284366"/>
            <a:ext cx="2367815" cy="217765"/>
          </a:xfrm>
          <a:prstGeom prst="round2SameRect">
            <a:avLst>
              <a:gd name="adj1" fmla="val 50000"/>
              <a:gd name="adj2" fmla="val 0"/>
            </a:avLst>
          </a:prstGeom>
          <a:noFill/>
          <a:ln>
            <a:solidFill>
              <a:srgbClr val="C00000"/>
            </a:solidFill>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rPr>
              <a:t>Tue, Mar. 7</a:t>
            </a:r>
            <a:endParaRPr kumimoji="0" lang="en-CA" sz="12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endParaRPr>
          </a:p>
        </p:txBody>
      </p:sp>
      <p:sp>
        <p:nvSpPr>
          <p:cNvPr id="9" name="Rectangle 8">
            <a:extLst>
              <a:ext uri="{FF2B5EF4-FFF2-40B4-BE49-F238E27FC236}">
                <a16:creationId xmlns:a16="http://schemas.microsoft.com/office/drawing/2014/main" id="{970DF35E-6280-97EE-2C2D-FE1481950451}"/>
              </a:ext>
            </a:extLst>
          </p:cNvPr>
          <p:cNvSpPr/>
          <p:nvPr/>
        </p:nvSpPr>
        <p:spPr>
          <a:xfrm>
            <a:off x="7844589" y="2541001"/>
            <a:ext cx="2367815" cy="1106974"/>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10" name="TextBox 9">
            <a:extLst>
              <a:ext uri="{FF2B5EF4-FFF2-40B4-BE49-F238E27FC236}">
                <a16:creationId xmlns:a16="http://schemas.microsoft.com/office/drawing/2014/main" id="{2BA265A7-9462-CAEA-A67B-A8D198DC86D3}"/>
              </a:ext>
            </a:extLst>
          </p:cNvPr>
          <p:cNvSpPr txBox="1"/>
          <p:nvPr/>
        </p:nvSpPr>
        <p:spPr>
          <a:xfrm>
            <a:off x="7785464" y="2754011"/>
            <a:ext cx="1835757" cy="46166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rPr>
              <a:t>General Admission to 5th </a:t>
            </a:r>
            <a:r>
              <a:rPr kumimoji="0" lang="fr-CA" sz="1200" b="0" i="0" u="none" strike="noStrike" kern="1200" cap="none" spc="0" normalizeH="0" baseline="0" noProof="0" dirty="0" err="1">
                <a:ln>
                  <a:noFill/>
                </a:ln>
                <a:solidFill>
                  <a:srgbClr val="000000"/>
                </a:solidFill>
                <a:effectLst/>
                <a:uLnTx/>
                <a:uFillTx/>
                <a:latin typeface="Avenir Next LT Pro Demi" panose="020B0704020202020204" pitchFamily="34" charset="0"/>
                <a:ea typeface="+mn-ea"/>
                <a:cs typeface="+mn-cs"/>
              </a:rPr>
              <a:t>Floor</a:t>
            </a:r>
            <a:r>
              <a:rPr kumimoji="0" lang="fr-CA" sz="12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rPr>
              <a:t> </a:t>
            </a:r>
            <a:r>
              <a:rPr kumimoji="0" lang="fr-CA" sz="1200" b="0" i="0" u="none" strike="noStrike" kern="1200" cap="none" spc="0" normalizeH="0" baseline="0" noProof="0" dirty="0" err="1">
                <a:ln>
                  <a:noFill/>
                </a:ln>
                <a:solidFill>
                  <a:srgbClr val="000000"/>
                </a:solidFill>
                <a:effectLst/>
                <a:uLnTx/>
                <a:uFillTx/>
                <a:latin typeface="Avenir Next LT Pro Demi" panose="020B0704020202020204" pitchFamily="34" charset="0"/>
                <a:ea typeface="+mn-ea"/>
                <a:cs typeface="+mn-cs"/>
              </a:rPr>
              <a:t>is</a:t>
            </a:r>
            <a:r>
              <a:rPr kumimoji="0" lang="fr-CA" sz="12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rPr>
              <a:t> </a:t>
            </a:r>
            <a:r>
              <a:rPr kumimoji="0" lang="fr-CA" sz="1200" b="0" i="0" u="none" strike="noStrike" kern="1200" cap="none" spc="0" normalizeH="0" baseline="0" noProof="0" dirty="0" err="1">
                <a:ln>
                  <a:noFill/>
                </a:ln>
                <a:solidFill>
                  <a:srgbClr val="000000"/>
                </a:solidFill>
                <a:effectLst/>
                <a:uLnTx/>
                <a:uFillTx/>
                <a:latin typeface="Avenir Next LT Pro Demi" panose="020B0704020202020204" pitchFamily="34" charset="0"/>
                <a:ea typeface="+mn-ea"/>
                <a:cs typeface="+mn-cs"/>
              </a:rPr>
              <a:t>Booked</a:t>
            </a:r>
            <a:endParaRPr kumimoji="0" lang="en-CA" sz="12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endParaRPr>
          </a:p>
        </p:txBody>
      </p:sp>
      <p:pic>
        <p:nvPicPr>
          <p:cNvPr id="12" name="Graphic 11" descr="Checkbox Checked outline">
            <a:extLst>
              <a:ext uri="{FF2B5EF4-FFF2-40B4-BE49-F238E27FC236}">
                <a16:creationId xmlns:a16="http://schemas.microsoft.com/office/drawing/2014/main" id="{5882E3DF-DAC4-7B1D-7764-EEB1260A1D4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505392" y="2634820"/>
            <a:ext cx="688031" cy="688031"/>
          </a:xfrm>
          <a:prstGeom prst="rect">
            <a:avLst/>
          </a:prstGeom>
        </p:spPr>
      </p:pic>
      <p:sp>
        <p:nvSpPr>
          <p:cNvPr id="13" name="TextBox 12">
            <a:extLst>
              <a:ext uri="{FF2B5EF4-FFF2-40B4-BE49-F238E27FC236}">
                <a16:creationId xmlns:a16="http://schemas.microsoft.com/office/drawing/2014/main" id="{59D3F312-F3C8-6F0A-EF90-BB645944507F}"/>
              </a:ext>
            </a:extLst>
          </p:cNvPr>
          <p:cNvSpPr txBox="1"/>
          <p:nvPr/>
        </p:nvSpPr>
        <p:spPr>
          <a:xfrm>
            <a:off x="7962898" y="3416669"/>
            <a:ext cx="2188003"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rPr>
              <a:t> - 47 of 150 remaining -</a:t>
            </a:r>
            <a:endParaRPr kumimoji="0" lang="en-CA" sz="12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endParaRPr>
          </a:p>
        </p:txBody>
      </p:sp>
      <p:pic>
        <p:nvPicPr>
          <p:cNvPr id="6" name="Picture 5">
            <a:extLst>
              <a:ext uri="{FF2B5EF4-FFF2-40B4-BE49-F238E27FC236}">
                <a16:creationId xmlns:a16="http://schemas.microsoft.com/office/drawing/2014/main" id="{0A0A1759-8A80-047E-20AF-2F35E89F7427}"/>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r="67476"/>
          <a:stretch/>
        </p:blipFill>
        <p:spPr>
          <a:xfrm>
            <a:off x="5913374" y="324205"/>
            <a:ext cx="539428" cy="494206"/>
          </a:xfrm>
          <a:prstGeom prst="rect">
            <a:avLst/>
          </a:prstGeom>
        </p:spPr>
      </p:pic>
    </p:spTree>
    <p:extLst>
      <p:ext uri="{BB962C8B-B14F-4D97-AF65-F5344CB8AC3E}">
        <p14:creationId xmlns:p14="http://schemas.microsoft.com/office/powerpoint/2010/main" val="4422084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3BB42A1-CAB7-F3BE-E39A-4715561A6063}"/>
              </a:ext>
            </a:extLst>
          </p:cNvPr>
          <p:cNvSpPr txBox="1"/>
          <p:nvPr/>
        </p:nvSpPr>
        <p:spPr>
          <a:xfrm>
            <a:off x="0" y="1032520"/>
            <a:ext cx="3707285" cy="4682480"/>
          </a:xfrm>
          <a:prstGeom prst="rect">
            <a:avLst/>
          </a:prstGeom>
          <a:solidFill>
            <a:srgbClr val="FFFFFF"/>
          </a:solidFill>
          <a:ln>
            <a:noFill/>
          </a:ln>
        </p:spPr>
        <p:txBody>
          <a:bodyPr wrap="square" lIns="360000" tIns="252000" rIns="360000" bIns="252000" rtlCol="0" anchor="ctr" anchorCtr="0">
            <a:noAutofit/>
          </a:bodyPr>
          <a:lstStyle/>
          <a:p>
            <a:pPr marL="0" marR="0" lvl="0" indent="0" algn="l" defTabSz="914400" rtl="0" eaLnBrk="0" fontAlgn="base" latinLnBrk="0" hangingPunct="0">
              <a:lnSpc>
                <a:spcPts val="3000"/>
              </a:lnSpc>
              <a:spcBef>
                <a:spcPct val="0"/>
              </a:spcBef>
              <a:spcAft>
                <a:spcPct val="0"/>
              </a:spcAft>
              <a:buClrTx/>
              <a:buSzTx/>
              <a:buFontTx/>
              <a:buNone/>
              <a:tabLst/>
              <a:defRPr/>
            </a:pPr>
            <a:r>
              <a:rPr kumimoji="0" lang="en-CA" sz="18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rPr>
              <a:t>Examples of a GOOD </a:t>
            </a:r>
          </a:p>
          <a:p>
            <a:pPr marL="0" marR="0" lvl="0" indent="0" algn="l" defTabSz="914400" rtl="0" eaLnBrk="0" fontAlgn="base" latinLnBrk="0" hangingPunct="0">
              <a:lnSpc>
                <a:spcPts val="3000"/>
              </a:lnSpc>
              <a:spcBef>
                <a:spcPct val="0"/>
              </a:spcBef>
              <a:spcAft>
                <a:spcPct val="0"/>
              </a:spcAft>
              <a:buClrTx/>
              <a:buSzTx/>
              <a:buFontTx/>
              <a:buNone/>
              <a:tabLst/>
              <a:defRPr/>
            </a:pPr>
            <a:r>
              <a:rPr kumimoji="0" lang="en-CA" sz="18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rPr>
              <a:t>user experience for General Admission booking in GCworkplace:</a:t>
            </a:r>
          </a:p>
        </p:txBody>
      </p:sp>
      <p:sp>
        <p:nvSpPr>
          <p:cNvPr id="4" name="Rectangle 3">
            <a:extLst>
              <a:ext uri="{FF2B5EF4-FFF2-40B4-BE49-F238E27FC236}">
                <a16:creationId xmlns:a16="http://schemas.microsoft.com/office/drawing/2014/main" id="{829FD096-C4F1-D143-8CB2-D0F373530E9B}"/>
              </a:ext>
            </a:extLst>
          </p:cNvPr>
          <p:cNvSpPr/>
          <p:nvPr/>
        </p:nvSpPr>
        <p:spPr>
          <a:xfrm>
            <a:off x="3886201" y="1032519"/>
            <a:ext cx="8305800" cy="468247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srgbClr val="F1F2F2"/>
              </a:solidFill>
              <a:effectLst/>
              <a:uLnTx/>
              <a:uFillTx/>
              <a:latin typeface="Arial"/>
              <a:ea typeface="+mn-ea"/>
              <a:cs typeface="+mn-cs"/>
            </a:endParaRPr>
          </a:p>
        </p:txBody>
      </p:sp>
      <p:pic>
        <p:nvPicPr>
          <p:cNvPr id="6" name="Graphic 5" descr="User with solid fill">
            <a:extLst>
              <a:ext uri="{FF2B5EF4-FFF2-40B4-BE49-F238E27FC236}">
                <a16:creationId xmlns:a16="http://schemas.microsoft.com/office/drawing/2014/main" id="{B7A1BF01-5729-A4CB-24A5-A74318C4B95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043618" y="1221383"/>
            <a:ext cx="1468909" cy="1468909"/>
          </a:xfrm>
          <a:prstGeom prst="rect">
            <a:avLst/>
          </a:prstGeom>
        </p:spPr>
      </p:pic>
      <p:pic>
        <p:nvPicPr>
          <p:cNvPr id="7" name="Graphic 6" descr="User with solid fill">
            <a:extLst>
              <a:ext uri="{FF2B5EF4-FFF2-40B4-BE49-F238E27FC236}">
                <a16:creationId xmlns:a16="http://schemas.microsoft.com/office/drawing/2014/main" id="{8AA39C5A-873A-9764-121D-D7354E078BA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043617" y="2587996"/>
            <a:ext cx="1468909" cy="1468909"/>
          </a:xfrm>
          <a:prstGeom prst="rect">
            <a:avLst/>
          </a:prstGeom>
        </p:spPr>
      </p:pic>
      <p:pic>
        <p:nvPicPr>
          <p:cNvPr id="8" name="Graphic 7" descr="User with solid fill">
            <a:extLst>
              <a:ext uri="{FF2B5EF4-FFF2-40B4-BE49-F238E27FC236}">
                <a16:creationId xmlns:a16="http://schemas.microsoft.com/office/drawing/2014/main" id="{C420A5DC-8AF9-D35D-9D7F-B45DB53A698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043617" y="3954609"/>
            <a:ext cx="1468909" cy="1468909"/>
          </a:xfrm>
          <a:prstGeom prst="rect">
            <a:avLst/>
          </a:prstGeom>
        </p:spPr>
      </p:pic>
      <p:sp>
        <p:nvSpPr>
          <p:cNvPr id="28" name="Title 1">
            <a:extLst>
              <a:ext uri="{FF2B5EF4-FFF2-40B4-BE49-F238E27FC236}">
                <a16:creationId xmlns:a16="http://schemas.microsoft.com/office/drawing/2014/main" id="{B67BD032-FF4C-CFDD-C454-D524FDB6BAA2}"/>
              </a:ext>
            </a:extLst>
          </p:cNvPr>
          <p:cNvSpPr txBox="1">
            <a:spLocks/>
          </p:cNvSpPr>
          <p:nvPr/>
        </p:nvSpPr>
        <p:spPr bwMode="auto">
          <a:xfrm>
            <a:off x="245304" y="188640"/>
            <a:ext cx="11333888" cy="843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r" defTabSz="912813" rtl="0" eaLnBrk="0" fontAlgn="base" hangingPunct="0">
              <a:lnSpc>
                <a:spcPct val="90000"/>
              </a:lnSpc>
              <a:spcBef>
                <a:spcPct val="0"/>
              </a:spcBef>
              <a:spcAft>
                <a:spcPct val="0"/>
              </a:spcAft>
              <a:defRPr sz="3200" b="1" kern="1200">
                <a:solidFill>
                  <a:srgbClr val="3F464A"/>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000000"/>
                </a:solidFill>
                <a:effectLst/>
                <a:uLnTx/>
                <a:uFillTx/>
                <a:latin typeface="Avenir Next LT Pro Demi" panose="020B0704020202020204" pitchFamily="34" charset="0"/>
                <a:ea typeface="+mj-ea"/>
                <a:cs typeface="Arial" panose="020B0604020202020204" pitchFamily="34" charset="0"/>
              </a:rPr>
              <a:t>Space Booking Considerations for       GCworkplace</a:t>
            </a:r>
            <a:endParaRPr kumimoji="0" lang="en-CA" sz="2800" b="1" i="0" u="none" strike="noStrike" kern="1200" cap="none" spc="0" normalizeH="0" baseline="0" noProof="0" dirty="0">
              <a:ln>
                <a:noFill/>
              </a:ln>
              <a:solidFill>
                <a:srgbClr val="3F464A"/>
              </a:solidFill>
              <a:effectLst/>
              <a:uLnTx/>
              <a:uFillTx/>
              <a:latin typeface="Avenir Next LT Pro Demi" panose="020B0704020202020204" pitchFamily="34" charset="0"/>
              <a:ea typeface="+mj-ea"/>
              <a:cs typeface="+mj-cs"/>
            </a:endParaRPr>
          </a:p>
        </p:txBody>
      </p:sp>
      <p:pic>
        <p:nvPicPr>
          <p:cNvPr id="29" name="Picture 28">
            <a:extLst>
              <a:ext uri="{FF2B5EF4-FFF2-40B4-BE49-F238E27FC236}">
                <a16:creationId xmlns:a16="http://schemas.microsoft.com/office/drawing/2014/main" id="{76F451C7-AEDB-20F9-123F-786FECD23BFA}"/>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r="67476"/>
          <a:stretch/>
        </p:blipFill>
        <p:spPr>
          <a:xfrm>
            <a:off x="5913374" y="324205"/>
            <a:ext cx="539428" cy="494206"/>
          </a:xfrm>
          <a:prstGeom prst="rect">
            <a:avLst/>
          </a:prstGeom>
        </p:spPr>
      </p:pic>
      <p:sp>
        <p:nvSpPr>
          <p:cNvPr id="31" name="TextBox 30">
            <a:extLst>
              <a:ext uri="{FF2B5EF4-FFF2-40B4-BE49-F238E27FC236}">
                <a16:creationId xmlns:a16="http://schemas.microsoft.com/office/drawing/2014/main" id="{CA3C8D01-FF78-1506-0D85-53D06CF987C9}"/>
              </a:ext>
            </a:extLst>
          </p:cNvPr>
          <p:cNvSpPr txBox="1"/>
          <p:nvPr/>
        </p:nvSpPr>
        <p:spPr>
          <a:xfrm>
            <a:off x="5512526" y="1636278"/>
            <a:ext cx="6066666" cy="3461910"/>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rPr>
              <a:t>Reassurance that there will be room for you when you get there by booking a general admission to the floo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rPr>
              <a:t>Moving to another, better suited workpoint at any time by simply seeing that it is vaca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rPr>
              <a:t>Using informal collaboration spaces, like a lounge or chat point, for impromptu exchanges with colleagues</a:t>
            </a:r>
          </a:p>
        </p:txBody>
      </p:sp>
      <p:grpSp>
        <p:nvGrpSpPr>
          <p:cNvPr id="32" name="Groupe 32">
            <a:extLst>
              <a:ext uri="{FF2B5EF4-FFF2-40B4-BE49-F238E27FC236}">
                <a16:creationId xmlns:a16="http://schemas.microsoft.com/office/drawing/2014/main" id="{BEAFDB9E-8A69-7A71-0491-9BF8B0D5A0E7}"/>
              </a:ext>
            </a:extLst>
          </p:cNvPr>
          <p:cNvGrpSpPr/>
          <p:nvPr/>
        </p:nvGrpSpPr>
        <p:grpSpPr>
          <a:xfrm>
            <a:off x="-369553" y="1383223"/>
            <a:ext cx="343674" cy="4609136"/>
            <a:chOff x="878638" y="1074071"/>
            <a:chExt cx="5364507" cy="4609136"/>
          </a:xfrm>
        </p:grpSpPr>
        <p:sp>
          <p:nvSpPr>
            <p:cNvPr id="33" name="Rectangle 32">
              <a:extLst>
                <a:ext uri="{FF2B5EF4-FFF2-40B4-BE49-F238E27FC236}">
                  <a16:creationId xmlns:a16="http://schemas.microsoft.com/office/drawing/2014/main" id="{16510B18-7D67-57A1-1D8F-1EBFA1F01F6A}"/>
                </a:ext>
              </a:extLst>
            </p:cNvPr>
            <p:cNvSpPr/>
            <p:nvPr/>
          </p:nvSpPr>
          <p:spPr>
            <a:xfrm>
              <a:off x="878638" y="3479263"/>
              <a:ext cx="5364507" cy="400050"/>
            </a:xfrm>
            <a:prstGeom prst="rect">
              <a:avLst/>
            </a:prstGeom>
            <a:solidFill>
              <a:srgbClr val="FAA4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900" b="0" i="0" u="none" strike="noStrike" kern="1200" cap="none" spc="0" normalizeH="0" baseline="0" noProof="0" dirty="0">
                  <a:ln>
                    <a:noFill/>
                  </a:ln>
                  <a:solidFill>
                    <a:srgbClr val="F1F2F2"/>
                  </a:solidFill>
                  <a:effectLst/>
                  <a:uLnTx/>
                  <a:uFillTx/>
                  <a:latin typeface="Avenir Next LT Pro Demi" panose="020B0704020202020204" pitchFamily="34" charset="0"/>
                  <a:ea typeface="+mn-ea"/>
                  <a:cs typeface="+mn-cs"/>
                </a:rPr>
                <a:t>X</a:t>
              </a:r>
            </a:p>
          </p:txBody>
        </p:sp>
        <p:sp>
          <p:nvSpPr>
            <p:cNvPr id="34" name="Rectangle 33">
              <a:extLst>
                <a:ext uri="{FF2B5EF4-FFF2-40B4-BE49-F238E27FC236}">
                  <a16:creationId xmlns:a16="http://schemas.microsoft.com/office/drawing/2014/main" id="{029F1785-56BE-EE96-6B3F-EC6FEE6D2790}"/>
                </a:ext>
              </a:extLst>
            </p:cNvPr>
            <p:cNvSpPr/>
            <p:nvPr/>
          </p:nvSpPr>
          <p:spPr>
            <a:xfrm>
              <a:off x="878638" y="4080561"/>
              <a:ext cx="5364507" cy="400050"/>
            </a:xfrm>
            <a:prstGeom prst="rect">
              <a:avLst/>
            </a:prstGeom>
            <a:solidFill>
              <a:srgbClr val="C35E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900" b="0" i="0" u="none" strike="noStrike" kern="1200" cap="none" spc="0" normalizeH="0" baseline="0" noProof="0" dirty="0">
                  <a:ln>
                    <a:noFill/>
                  </a:ln>
                  <a:solidFill>
                    <a:srgbClr val="F1F2F2"/>
                  </a:solidFill>
                  <a:effectLst/>
                  <a:uLnTx/>
                  <a:uFillTx/>
                  <a:latin typeface="Avenir Next LT Pro Demi" panose="020B0704020202020204" pitchFamily="34" charset="0"/>
                  <a:ea typeface="+mn-ea"/>
                  <a:cs typeface="+mn-cs"/>
                </a:rPr>
                <a:t>X</a:t>
              </a:r>
            </a:p>
          </p:txBody>
        </p:sp>
        <p:sp>
          <p:nvSpPr>
            <p:cNvPr id="35" name="Rectangle 34">
              <a:extLst>
                <a:ext uri="{FF2B5EF4-FFF2-40B4-BE49-F238E27FC236}">
                  <a16:creationId xmlns:a16="http://schemas.microsoft.com/office/drawing/2014/main" id="{E3EAAB2A-949C-DFA4-23BE-F4AFC6699713}"/>
                </a:ext>
              </a:extLst>
            </p:cNvPr>
            <p:cNvSpPr/>
            <p:nvPr/>
          </p:nvSpPr>
          <p:spPr>
            <a:xfrm>
              <a:off x="878638" y="4681859"/>
              <a:ext cx="5364507" cy="400050"/>
            </a:xfrm>
            <a:prstGeom prst="rect">
              <a:avLst/>
            </a:prstGeom>
            <a:solidFill>
              <a:srgbClr val="A232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900" b="0" i="0" u="none" strike="noStrike" kern="1200" cap="none" spc="0" normalizeH="0" baseline="0" noProof="0" dirty="0">
                  <a:ln>
                    <a:noFill/>
                  </a:ln>
                  <a:solidFill>
                    <a:srgbClr val="F1F2F2"/>
                  </a:solidFill>
                  <a:effectLst/>
                  <a:uLnTx/>
                  <a:uFillTx/>
                  <a:latin typeface="Avenir Next LT Pro Demi" panose="020B0704020202020204" pitchFamily="34" charset="0"/>
                  <a:ea typeface="+mn-ea"/>
                  <a:cs typeface="+mn-cs"/>
                </a:rPr>
                <a:t>X</a:t>
              </a:r>
            </a:p>
          </p:txBody>
        </p:sp>
        <p:sp>
          <p:nvSpPr>
            <p:cNvPr id="36" name="Rectangle 35">
              <a:extLst>
                <a:ext uri="{FF2B5EF4-FFF2-40B4-BE49-F238E27FC236}">
                  <a16:creationId xmlns:a16="http://schemas.microsoft.com/office/drawing/2014/main" id="{08B332F5-E83C-253B-07FF-08FED6DD56F0}"/>
                </a:ext>
              </a:extLst>
            </p:cNvPr>
            <p:cNvSpPr/>
            <p:nvPr/>
          </p:nvSpPr>
          <p:spPr>
            <a:xfrm>
              <a:off x="878638" y="5283157"/>
              <a:ext cx="5364507" cy="400050"/>
            </a:xfrm>
            <a:prstGeom prst="rect">
              <a:avLst/>
            </a:prstGeom>
            <a:solidFill>
              <a:srgbClr val="7778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900" b="0" i="0" u="none" strike="noStrike" kern="1200" cap="none" spc="0" normalizeH="0" baseline="0" noProof="0" dirty="0">
                  <a:ln>
                    <a:noFill/>
                  </a:ln>
                  <a:solidFill>
                    <a:srgbClr val="F1F2F2"/>
                  </a:solidFill>
                  <a:effectLst/>
                  <a:uLnTx/>
                  <a:uFillTx/>
                  <a:latin typeface="Avenir Next LT Pro Demi" panose="020B0704020202020204" pitchFamily="34" charset="0"/>
                  <a:ea typeface="+mn-ea"/>
                  <a:cs typeface="+mn-cs"/>
                </a:rPr>
                <a:t>X</a:t>
              </a:r>
            </a:p>
          </p:txBody>
        </p:sp>
        <p:sp>
          <p:nvSpPr>
            <p:cNvPr id="37" name="Rectangle 36">
              <a:extLst>
                <a:ext uri="{FF2B5EF4-FFF2-40B4-BE49-F238E27FC236}">
                  <a16:creationId xmlns:a16="http://schemas.microsoft.com/office/drawing/2014/main" id="{8DC49921-C4A0-9B92-E4C6-D3E6FD2C5B5F}"/>
                </a:ext>
              </a:extLst>
            </p:cNvPr>
            <p:cNvSpPr/>
            <p:nvPr/>
          </p:nvSpPr>
          <p:spPr>
            <a:xfrm>
              <a:off x="878638" y="1074071"/>
              <a:ext cx="5364507" cy="400050"/>
            </a:xfrm>
            <a:prstGeom prst="rect">
              <a:avLst/>
            </a:prstGeom>
            <a:solidFill>
              <a:srgbClr val="AFA9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900" b="0" i="0" u="none" strike="noStrike" kern="1200" cap="none" spc="0" normalizeH="0" baseline="0" noProof="0" dirty="0">
                  <a:ln>
                    <a:noFill/>
                  </a:ln>
                  <a:solidFill>
                    <a:srgbClr val="F1F2F2"/>
                  </a:solidFill>
                  <a:effectLst/>
                  <a:uLnTx/>
                  <a:uFillTx/>
                  <a:latin typeface="Avenir Next LT Pro Demi" panose="020B0704020202020204" pitchFamily="34" charset="0"/>
                  <a:ea typeface="+mn-ea"/>
                  <a:cs typeface="+mn-cs"/>
                </a:rPr>
                <a:t>X</a:t>
              </a:r>
            </a:p>
          </p:txBody>
        </p:sp>
        <p:sp>
          <p:nvSpPr>
            <p:cNvPr id="38" name="Rectangle 37">
              <a:extLst>
                <a:ext uri="{FF2B5EF4-FFF2-40B4-BE49-F238E27FC236}">
                  <a16:creationId xmlns:a16="http://schemas.microsoft.com/office/drawing/2014/main" id="{8A8B899A-F6AC-423C-6228-6BFE75638EDF}"/>
                </a:ext>
              </a:extLst>
            </p:cNvPr>
            <p:cNvSpPr/>
            <p:nvPr/>
          </p:nvSpPr>
          <p:spPr>
            <a:xfrm>
              <a:off x="878638" y="1675369"/>
              <a:ext cx="5364507" cy="400050"/>
            </a:xfrm>
            <a:prstGeom prst="rect">
              <a:avLst/>
            </a:prstGeom>
            <a:solidFill>
              <a:srgbClr val="96C2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900" b="0" i="0" u="none" strike="noStrike" kern="1200" cap="none" spc="0" normalizeH="0" baseline="0" noProof="0" dirty="0">
                  <a:ln>
                    <a:noFill/>
                  </a:ln>
                  <a:solidFill>
                    <a:srgbClr val="F1F2F2"/>
                  </a:solidFill>
                  <a:effectLst/>
                  <a:uLnTx/>
                  <a:uFillTx/>
                  <a:latin typeface="Avenir Next LT Pro Demi" panose="020B0704020202020204" pitchFamily="34" charset="0"/>
                  <a:ea typeface="+mn-ea"/>
                  <a:cs typeface="+mn-cs"/>
                </a:rPr>
                <a:t>X</a:t>
              </a:r>
            </a:p>
          </p:txBody>
        </p:sp>
        <p:sp>
          <p:nvSpPr>
            <p:cNvPr id="39" name="Rectangle 38">
              <a:extLst>
                <a:ext uri="{FF2B5EF4-FFF2-40B4-BE49-F238E27FC236}">
                  <a16:creationId xmlns:a16="http://schemas.microsoft.com/office/drawing/2014/main" id="{03FC9166-1735-846B-A5CD-4D70C2703198}"/>
                </a:ext>
              </a:extLst>
            </p:cNvPr>
            <p:cNvSpPr/>
            <p:nvPr/>
          </p:nvSpPr>
          <p:spPr>
            <a:xfrm>
              <a:off x="878638" y="2276667"/>
              <a:ext cx="5364507" cy="400050"/>
            </a:xfrm>
            <a:prstGeom prst="rect">
              <a:avLst/>
            </a:prstGeom>
            <a:solidFill>
              <a:srgbClr val="4097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900" b="0" i="0" u="none" strike="noStrike" kern="1200" cap="none" spc="0" normalizeH="0" baseline="0" noProof="0" dirty="0">
                  <a:ln>
                    <a:noFill/>
                  </a:ln>
                  <a:solidFill>
                    <a:srgbClr val="F1F2F2"/>
                  </a:solidFill>
                  <a:effectLst/>
                  <a:uLnTx/>
                  <a:uFillTx/>
                  <a:latin typeface="Avenir Next LT Pro Demi" panose="020B0704020202020204" pitchFamily="34" charset="0"/>
                  <a:ea typeface="+mn-ea"/>
                  <a:cs typeface="+mn-cs"/>
                </a:rPr>
                <a:t>X</a:t>
              </a:r>
            </a:p>
          </p:txBody>
        </p:sp>
        <p:sp>
          <p:nvSpPr>
            <p:cNvPr id="40" name="Rectangle 39">
              <a:extLst>
                <a:ext uri="{FF2B5EF4-FFF2-40B4-BE49-F238E27FC236}">
                  <a16:creationId xmlns:a16="http://schemas.microsoft.com/office/drawing/2014/main" id="{645B8716-F7A7-AA7E-756F-CD690218337F}"/>
                </a:ext>
              </a:extLst>
            </p:cNvPr>
            <p:cNvSpPr/>
            <p:nvPr/>
          </p:nvSpPr>
          <p:spPr>
            <a:xfrm>
              <a:off x="878638" y="2877965"/>
              <a:ext cx="5364507" cy="400050"/>
            </a:xfrm>
            <a:prstGeom prst="rect">
              <a:avLst/>
            </a:prstGeom>
            <a:solidFill>
              <a:srgbClr val="2C6A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900" b="0" i="0" u="none" strike="noStrike" kern="1200" cap="none" spc="0" normalizeH="0" baseline="0" noProof="0" dirty="0">
                  <a:ln>
                    <a:noFill/>
                  </a:ln>
                  <a:solidFill>
                    <a:srgbClr val="F1F2F2"/>
                  </a:solidFill>
                  <a:effectLst/>
                  <a:uLnTx/>
                  <a:uFillTx/>
                  <a:latin typeface="Avenir Next LT Pro Demi" panose="020B0704020202020204" pitchFamily="34" charset="0"/>
                  <a:ea typeface="+mn-ea"/>
                  <a:cs typeface="+mn-cs"/>
                </a:rPr>
                <a:t>X</a:t>
              </a:r>
            </a:p>
          </p:txBody>
        </p:sp>
      </p:grpSp>
      <p:pic>
        <p:nvPicPr>
          <p:cNvPr id="42" name="Graphic 41" descr="Smiling face outline with solid fill">
            <a:extLst>
              <a:ext uri="{FF2B5EF4-FFF2-40B4-BE49-F238E27FC236}">
                <a16:creationId xmlns:a16="http://schemas.microsoft.com/office/drawing/2014/main" id="{5D6F7D28-8178-4308-5DDB-65DDB77B465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449822" y="1349993"/>
            <a:ext cx="651664" cy="651664"/>
          </a:xfrm>
          <a:prstGeom prst="rect">
            <a:avLst/>
          </a:prstGeom>
        </p:spPr>
      </p:pic>
      <p:pic>
        <p:nvPicPr>
          <p:cNvPr id="43" name="Graphic 42" descr="Smiling face outline with solid fill">
            <a:extLst>
              <a:ext uri="{FF2B5EF4-FFF2-40B4-BE49-F238E27FC236}">
                <a16:creationId xmlns:a16="http://schemas.microsoft.com/office/drawing/2014/main" id="{01C8AFC0-2E9C-C45F-3844-23C980570F2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445572" y="2721934"/>
            <a:ext cx="651664" cy="651664"/>
          </a:xfrm>
          <a:prstGeom prst="rect">
            <a:avLst/>
          </a:prstGeom>
        </p:spPr>
      </p:pic>
      <p:pic>
        <p:nvPicPr>
          <p:cNvPr id="44" name="Graphic 43" descr="Smiling face outline with solid fill">
            <a:extLst>
              <a:ext uri="{FF2B5EF4-FFF2-40B4-BE49-F238E27FC236}">
                <a16:creationId xmlns:a16="http://schemas.microsoft.com/office/drawing/2014/main" id="{1EF80B22-7032-B34E-A233-8FD60810F46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445572" y="4088547"/>
            <a:ext cx="651664" cy="651664"/>
          </a:xfrm>
          <a:prstGeom prst="rect">
            <a:avLst/>
          </a:prstGeom>
        </p:spPr>
      </p:pic>
    </p:spTree>
    <p:extLst>
      <p:ext uri="{BB962C8B-B14F-4D97-AF65-F5344CB8AC3E}">
        <p14:creationId xmlns:p14="http://schemas.microsoft.com/office/powerpoint/2010/main" val="42617622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3BB42A1-CAB7-F3BE-E39A-4715561A6063}"/>
              </a:ext>
            </a:extLst>
          </p:cNvPr>
          <p:cNvSpPr txBox="1"/>
          <p:nvPr/>
        </p:nvSpPr>
        <p:spPr>
          <a:xfrm>
            <a:off x="0" y="1032520"/>
            <a:ext cx="3707285" cy="4682480"/>
          </a:xfrm>
          <a:prstGeom prst="rect">
            <a:avLst/>
          </a:prstGeom>
          <a:solidFill>
            <a:srgbClr val="FFFFFF"/>
          </a:solidFill>
          <a:ln>
            <a:noFill/>
          </a:ln>
        </p:spPr>
        <p:txBody>
          <a:bodyPr wrap="square" lIns="360000" tIns="252000" rIns="360000" bIns="252000" rtlCol="0" anchor="ctr" anchorCtr="0">
            <a:noAutofit/>
          </a:bodyPr>
          <a:lstStyle/>
          <a:p>
            <a:pPr marL="0" marR="0" lvl="0" indent="0" algn="l" defTabSz="914400" rtl="0" eaLnBrk="0" fontAlgn="base" latinLnBrk="0" hangingPunct="0">
              <a:lnSpc>
                <a:spcPts val="3000"/>
              </a:lnSpc>
              <a:spcBef>
                <a:spcPct val="0"/>
              </a:spcBef>
              <a:spcAft>
                <a:spcPct val="0"/>
              </a:spcAft>
              <a:buClrTx/>
              <a:buSzTx/>
              <a:buFontTx/>
              <a:buNone/>
              <a:tabLst/>
              <a:defRPr/>
            </a:pPr>
            <a:r>
              <a:rPr kumimoji="0" lang="en-CA" sz="18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rPr>
              <a:t>Examples of a BAD user experience </a:t>
            </a:r>
            <a:r>
              <a:rPr lang="en-CA" dirty="0">
                <a:solidFill>
                  <a:srgbClr val="000000"/>
                </a:solidFill>
                <a:latin typeface="Avenir Next LT Pro Demi" panose="020B0704020202020204" pitchFamily="34" charset="0"/>
              </a:rPr>
              <a:t>with a workstation</a:t>
            </a:r>
            <a:r>
              <a:rPr kumimoji="0" lang="en-CA" sz="18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rPr>
              <a:t> booking strategy in GCworkplace:</a:t>
            </a:r>
          </a:p>
        </p:txBody>
      </p:sp>
      <p:sp>
        <p:nvSpPr>
          <p:cNvPr id="4" name="Rectangle 3">
            <a:extLst>
              <a:ext uri="{FF2B5EF4-FFF2-40B4-BE49-F238E27FC236}">
                <a16:creationId xmlns:a16="http://schemas.microsoft.com/office/drawing/2014/main" id="{829FD096-C4F1-D143-8CB2-D0F373530E9B}"/>
              </a:ext>
            </a:extLst>
          </p:cNvPr>
          <p:cNvSpPr/>
          <p:nvPr/>
        </p:nvSpPr>
        <p:spPr>
          <a:xfrm>
            <a:off x="3886201" y="1032519"/>
            <a:ext cx="8305800" cy="468247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srgbClr val="F1F2F2"/>
              </a:solidFill>
              <a:effectLst/>
              <a:uLnTx/>
              <a:uFillTx/>
              <a:latin typeface="Arial"/>
              <a:ea typeface="+mn-ea"/>
              <a:cs typeface="+mn-cs"/>
            </a:endParaRPr>
          </a:p>
        </p:txBody>
      </p:sp>
      <p:pic>
        <p:nvPicPr>
          <p:cNvPr id="6" name="Graphic 5" descr="User with solid fill">
            <a:extLst>
              <a:ext uri="{FF2B5EF4-FFF2-40B4-BE49-F238E27FC236}">
                <a16:creationId xmlns:a16="http://schemas.microsoft.com/office/drawing/2014/main" id="{B7A1BF01-5729-A4CB-24A5-A74318C4B95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043618" y="1221383"/>
            <a:ext cx="1468909" cy="1468909"/>
          </a:xfrm>
          <a:prstGeom prst="rect">
            <a:avLst/>
          </a:prstGeom>
        </p:spPr>
      </p:pic>
      <p:pic>
        <p:nvPicPr>
          <p:cNvPr id="7" name="Graphic 6" descr="User with solid fill">
            <a:extLst>
              <a:ext uri="{FF2B5EF4-FFF2-40B4-BE49-F238E27FC236}">
                <a16:creationId xmlns:a16="http://schemas.microsoft.com/office/drawing/2014/main" id="{8AA39C5A-873A-9764-121D-D7354E078BA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043617" y="2587996"/>
            <a:ext cx="1468909" cy="1468909"/>
          </a:xfrm>
          <a:prstGeom prst="rect">
            <a:avLst/>
          </a:prstGeom>
        </p:spPr>
      </p:pic>
      <p:pic>
        <p:nvPicPr>
          <p:cNvPr id="8" name="Graphic 7" descr="User with solid fill">
            <a:extLst>
              <a:ext uri="{FF2B5EF4-FFF2-40B4-BE49-F238E27FC236}">
                <a16:creationId xmlns:a16="http://schemas.microsoft.com/office/drawing/2014/main" id="{C420A5DC-8AF9-D35D-9D7F-B45DB53A698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043617" y="3954609"/>
            <a:ext cx="1468909" cy="1468909"/>
          </a:xfrm>
          <a:prstGeom prst="rect">
            <a:avLst/>
          </a:prstGeom>
        </p:spPr>
      </p:pic>
      <p:sp>
        <p:nvSpPr>
          <p:cNvPr id="28" name="Title 1">
            <a:extLst>
              <a:ext uri="{FF2B5EF4-FFF2-40B4-BE49-F238E27FC236}">
                <a16:creationId xmlns:a16="http://schemas.microsoft.com/office/drawing/2014/main" id="{B67BD032-FF4C-CFDD-C454-D524FDB6BAA2}"/>
              </a:ext>
            </a:extLst>
          </p:cNvPr>
          <p:cNvSpPr txBox="1">
            <a:spLocks/>
          </p:cNvSpPr>
          <p:nvPr/>
        </p:nvSpPr>
        <p:spPr bwMode="auto">
          <a:xfrm>
            <a:off x="245304" y="188640"/>
            <a:ext cx="11333888" cy="843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r" defTabSz="912813" rtl="0" eaLnBrk="0" fontAlgn="base" hangingPunct="0">
              <a:lnSpc>
                <a:spcPct val="90000"/>
              </a:lnSpc>
              <a:spcBef>
                <a:spcPct val="0"/>
              </a:spcBef>
              <a:spcAft>
                <a:spcPct val="0"/>
              </a:spcAft>
              <a:defRPr sz="3200" b="1" kern="1200">
                <a:solidFill>
                  <a:srgbClr val="3F464A"/>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en-US" sz="2800" b="0" i="0" u="none" strike="noStrike" kern="1200" cap="none" spc="0" normalizeH="0" baseline="0" noProof="0">
                <a:ln>
                  <a:noFill/>
                </a:ln>
                <a:solidFill>
                  <a:srgbClr val="000000"/>
                </a:solidFill>
                <a:effectLst/>
                <a:uLnTx/>
                <a:uFillTx/>
                <a:latin typeface="Avenir Next LT Pro Demi" panose="020B0704020202020204" pitchFamily="34" charset="0"/>
                <a:ea typeface="+mj-ea"/>
                <a:cs typeface="Arial" panose="020B0604020202020204" pitchFamily="34" charset="0"/>
              </a:rPr>
              <a:t>Space Booking Considerations for       GCworkplace</a:t>
            </a:r>
            <a:endParaRPr kumimoji="0" lang="en-CA" sz="2800" b="1" i="0" u="none" strike="noStrike" kern="1200" cap="none" spc="0" normalizeH="0" baseline="0" noProof="0" dirty="0">
              <a:ln>
                <a:noFill/>
              </a:ln>
              <a:solidFill>
                <a:srgbClr val="3F464A"/>
              </a:solidFill>
              <a:effectLst/>
              <a:uLnTx/>
              <a:uFillTx/>
              <a:latin typeface="Avenir Next LT Pro Demi" panose="020B0704020202020204" pitchFamily="34" charset="0"/>
              <a:ea typeface="+mj-ea"/>
              <a:cs typeface="+mj-cs"/>
            </a:endParaRPr>
          </a:p>
        </p:txBody>
      </p:sp>
      <p:pic>
        <p:nvPicPr>
          <p:cNvPr id="29" name="Picture 28">
            <a:extLst>
              <a:ext uri="{FF2B5EF4-FFF2-40B4-BE49-F238E27FC236}">
                <a16:creationId xmlns:a16="http://schemas.microsoft.com/office/drawing/2014/main" id="{76F451C7-AEDB-20F9-123F-786FECD23BFA}"/>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r="67476"/>
          <a:stretch/>
        </p:blipFill>
        <p:spPr>
          <a:xfrm>
            <a:off x="5913374" y="324205"/>
            <a:ext cx="539428" cy="494206"/>
          </a:xfrm>
          <a:prstGeom prst="rect">
            <a:avLst/>
          </a:prstGeom>
        </p:spPr>
      </p:pic>
      <p:grpSp>
        <p:nvGrpSpPr>
          <p:cNvPr id="2" name="Groupe 32">
            <a:extLst>
              <a:ext uri="{FF2B5EF4-FFF2-40B4-BE49-F238E27FC236}">
                <a16:creationId xmlns:a16="http://schemas.microsoft.com/office/drawing/2014/main" id="{C304F20F-B9E7-11B1-6DF3-31771325B2E8}"/>
              </a:ext>
            </a:extLst>
          </p:cNvPr>
          <p:cNvGrpSpPr/>
          <p:nvPr/>
        </p:nvGrpSpPr>
        <p:grpSpPr>
          <a:xfrm>
            <a:off x="-369553" y="1383223"/>
            <a:ext cx="343674" cy="4609136"/>
            <a:chOff x="878638" y="1074071"/>
            <a:chExt cx="5364507" cy="4609136"/>
          </a:xfrm>
        </p:grpSpPr>
        <p:sp>
          <p:nvSpPr>
            <p:cNvPr id="5" name="Rectangle 4">
              <a:extLst>
                <a:ext uri="{FF2B5EF4-FFF2-40B4-BE49-F238E27FC236}">
                  <a16:creationId xmlns:a16="http://schemas.microsoft.com/office/drawing/2014/main" id="{E6A8D504-A950-D031-403D-79937C389CA4}"/>
                </a:ext>
              </a:extLst>
            </p:cNvPr>
            <p:cNvSpPr/>
            <p:nvPr/>
          </p:nvSpPr>
          <p:spPr>
            <a:xfrm>
              <a:off x="878638" y="3479263"/>
              <a:ext cx="5364507" cy="400050"/>
            </a:xfrm>
            <a:prstGeom prst="rect">
              <a:avLst/>
            </a:prstGeom>
            <a:solidFill>
              <a:srgbClr val="FAA4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900" b="0" i="0" u="none" strike="noStrike" kern="1200" cap="none" spc="0" normalizeH="0" baseline="0" noProof="0" dirty="0">
                  <a:ln>
                    <a:noFill/>
                  </a:ln>
                  <a:solidFill>
                    <a:srgbClr val="F1F2F2"/>
                  </a:solidFill>
                  <a:effectLst/>
                  <a:uLnTx/>
                  <a:uFillTx/>
                  <a:latin typeface="Avenir Next LT Pro Demi" panose="020B0704020202020204" pitchFamily="34" charset="0"/>
                  <a:ea typeface="+mn-ea"/>
                  <a:cs typeface="+mn-cs"/>
                </a:rPr>
                <a:t>X</a:t>
              </a:r>
            </a:p>
          </p:txBody>
        </p:sp>
        <p:sp>
          <p:nvSpPr>
            <p:cNvPr id="9" name="Rectangle 8">
              <a:extLst>
                <a:ext uri="{FF2B5EF4-FFF2-40B4-BE49-F238E27FC236}">
                  <a16:creationId xmlns:a16="http://schemas.microsoft.com/office/drawing/2014/main" id="{95C10E85-D24B-14E3-F598-C3CA369E4B28}"/>
                </a:ext>
              </a:extLst>
            </p:cNvPr>
            <p:cNvSpPr/>
            <p:nvPr/>
          </p:nvSpPr>
          <p:spPr>
            <a:xfrm>
              <a:off x="878638" y="4080561"/>
              <a:ext cx="5364507" cy="400050"/>
            </a:xfrm>
            <a:prstGeom prst="rect">
              <a:avLst/>
            </a:prstGeom>
            <a:solidFill>
              <a:srgbClr val="C35E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900" b="0" i="0" u="none" strike="noStrike" kern="1200" cap="none" spc="0" normalizeH="0" baseline="0" noProof="0" dirty="0">
                  <a:ln>
                    <a:noFill/>
                  </a:ln>
                  <a:solidFill>
                    <a:srgbClr val="F1F2F2"/>
                  </a:solidFill>
                  <a:effectLst/>
                  <a:uLnTx/>
                  <a:uFillTx/>
                  <a:latin typeface="Avenir Next LT Pro Demi" panose="020B0704020202020204" pitchFamily="34" charset="0"/>
                  <a:ea typeface="+mn-ea"/>
                  <a:cs typeface="+mn-cs"/>
                </a:rPr>
                <a:t>X</a:t>
              </a:r>
            </a:p>
          </p:txBody>
        </p:sp>
        <p:sp>
          <p:nvSpPr>
            <p:cNvPr id="10" name="Rectangle 9">
              <a:extLst>
                <a:ext uri="{FF2B5EF4-FFF2-40B4-BE49-F238E27FC236}">
                  <a16:creationId xmlns:a16="http://schemas.microsoft.com/office/drawing/2014/main" id="{749FF3C4-7A20-CB72-95EE-B09D7DC8215A}"/>
                </a:ext>
              </a:extLst>
            </p:cNvPr>
            <p:cNvSpPr/>
            <p:nvPr/>
          </p:nvSpPr>
          <p:spPr>
            <a:xfrm>
              <a:off x="878638" y="4681859"/>
              <a:ext cx="5364507" cy="400050"/>
            </a:xfrm>
            <a:prstGeom prst="rect">
              <a:avLst/>
            </a:prstGeom>
            <a:solidFill>
              <a:srgbClr val="A232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900" b="0" i="0" u="none" strike="noStrike" kern="1200" cap="none" spc="0" normalizeH="0" baseline="0" noProof="0" dirty="0">
                  <a:ln>
                    <a:noFill/>
                  </a:ln>
                  <a:solidFill>
                    <a:srgbClr val="F1F2F2"/>
                  </a:solidFill>
                  <a:effectLst/>
                  <a:uLnTx/>
                  <a:uFillTx/>
                  <a:latin typeface="Avenir Next LT Pro Demi" panose="020B0704020202020204" pitchFamily="34" charset="0"/>
                  <a:ea typeface="+mn-ea"/>
                  <a:cs typeface="+mn-cs"/>
                </a:rPr>
                <a:t>X</a:t>
              </a:r>
            </a:p>
          </p:txBody>
        </p:sp>
        <p:sp>
          <p:nvSpPr>
            <p:cNvPr id="11" name="Rectangle 10">
              <a:extLst>
                <a:ext uri="{FF2B5EF4-FFF2-40B4-BE49-F238E27FC236}">
                  <a16:creationId xmlns:a16="http://schemas.microsoft.com/office/drawing/2014/main" id="{1336478E-E2B2-520F-DE3F-143F562E7409}"/>
                </a:ext>
              </a:extLst>
            </p:cNvPr>
            <p:cNvSpPr/>
            <p:nvPr/>
          </p:nvSpPr>
          <p:spPr>
            <a:xfrm>
              <a:off x="878638" y="5283157"/>
              <a:ext cx="5364507" cy="400050"/>
            </a:xfrm>
            <a:prstGeom prst="rect">
              <a:avLst/>
            </a:prstGeom>
            <a:solidFill>
              <a:srgbClr val="7778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900" b="0" i="0" u="none" strike="noStrike" kern="1200" cap="none" spc="0" normalizeH="0" baseline="0" noProof="0" dirty="0">
                  <a:ln>
                    <a:noFill/>
                  </a:ln>
                  <a:solidFill>
                    <a:srgbClr val="F1F2F2"/>
                  </a:solidFill>
                  <a:effectLst/>
                  <a:uLnTx/>
                  <a:uFillTx/>
                  <a:latin typeface="Avenir Next LT Pro Demi" panose="020B0704020202020204" pitchFamily="34" charset="0"/>
                  <a:ea typeface="+mn-ea"/>
                  <a:cs typeface="+mn-cs"/>
                </a:rPr>
                <a:t>X</a:t>
              </a:r>
            </a:p>
          </p:txBody>
        </p:sp>
        <p:sp>
          <p:nvSpPr>
            <p:cNvPr id="12" name="Rectangle 11">
              <a:extLst>
                <a:ext uri="{FF2B5EF4-FFF2-40B4-BE49-F238E27FC236}">
                  <a16:creationId xmlns:a16="http://schemas.microsoft.com/office/drawing/2014/main" id="{A9284B88-1F69-9D7A-C8F3-011E6BF117BF}"/>
                </a:ext>
              </a:extLst>
            </p:cNvPr>
            <p:cNvSpPr/>
            <p:nvPr/>
          </p:nvSpPr>
          <p:spPr>
            <a:xfrm>
              <a:off x="878638" y="1074071"/>
              <a:ext cx="5364507" cy="400050"/>
            </a:xfrm>
            <a:prstGeom prst="rect">
              <a:avLst/>
            </a:prstGeom>
            <a:solidFill>
              <a:srgbClr val="AFA9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900" b="0" i="0" u="none" strike="noStrike" kern="1200" cap="none" spc="0" normalizeH="0" baseline="0" noProof="0" dirty="0">
                  <a:ln>
                    <a:noFill/>
                  </a:ln>
                  <a:solidFill>
                    <a:srgbClr val="F1F2F2"/>
                  </a:solidFill>
                  <a:effectLst/>
                  <a:uLnTx/>
                  <a:uFillTx/>
                  <a:latin typeface="Avenir Next LT Pro Demi" panose="020B0704020202020204" pitchFamily="34" charset="0"/>
                  <a:ea typeface="+mn-ea"/>
                  <a:cs typeface="+mn-cs"/>
                </a:rPr>
                <a:t>X</a:t>
              </a:r>
            </a:p>
          </p:txBody>
        </p:sp>
        <p:sp>
          <p:nvSpPr>
            <p:cNvPr id="13" name="Rectangle 12">
              <a:extLst>
                <a:ext uri="{FF2B5EF4-FFF2-40B4-BE49-F238E27FC236}">
                  <a16:creationId xmlns:a16="http://schemas.microsoft.com/office/drawing/2014/main" id="{763D48D4-D143-2020-BCEC-0A1F99086649}"/>
                </a:ext>
              </a:extLst>
            </p:cNvPr>
            <p:cNvSpPr/>
            <p:nvPr/>
          </p:nvSpPr>
          <p:spPr>
            <a:xfrm>
              <a:off x="878638" y="1675369"/>
              <a:ext cx="5364507" cy="400050"/>
            </a:xfrm>
            <a:prstGeom prst="rect">
              <a:avLst/>
            </a:prstGeom>
            <a:solidFill>
              <a:srgbClr val="96C2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900" b="0" i="0" u="none" strike="noStrike" kern="1200" cap="none" spc="0" normalizeH="0" baseline="0" noProof="0" dirty="0">
                  <a:ln>
                    <a:noFill/>
                  </a:ln>
                  <a:solidFill>
                    <a:srgbClr val="F1F2F2"/>
                  </a:solidFill>
                  <a:effectLst/>
                  <a:uLnTx/>
                  <a:uFillTx/>
                  <a:latin typeface="Avenir Next LT Pro Demi" panose="020B0704020202020204" pitchFamily="34" charset="0"/>
                  <a:ea typeface="+mn-ea"/>
                  <a:cs typeface="+mn-cs"/>
                </a:rPr>
                <a:t>X</a:t>
              </a:r>
            </a:p>
          </p:txBody>
        </p:sp>
        <p:sp>
          <p:nvSpPr>
            <p:cNvPr id="14" name="Rectangle 13">
              <a:extLst>
                <a:ext uri="{FF2B5EF4-FFF2-40B4-BE49-F238E27FC236}">
                  <a16:creationId xmlns:a16="http://schemas.microsoft.com/office/drawing/2014/main" id="{34A5B8E2-7965-633D-927A-7C60E75B1733}"/>
                </a:ext>
              </a:extLst>
            </p:cNvPr>
            <p:cNvSpPr/>
            <p:nvPr/>
          </p:nvSpPr>
          <p:spPr>
            <a:xfrm>
              <a:off x="878638" y="2276667"/>
              <a:ext cx="5364507" cy="400050"/>
            </a:xfrm>
            <a:prstGeom prst="rect">
              <a:avLst/>
            </a:prstGeom>
            <a:solidFill>
              <a:srgbClr val="4097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900" b="0" i="0" u="none" strike="noStrike" kern="1200" cap="none" spc="0" normalizeH="0" baseline="0" noProof="0" dirty="0">
                  <a:ln>
                    <a:noFill/>
                  </a:ln>
                  <a:solidFill>
                    <a:srgbClr val="F1F2F2"/>
                  </a:solidFill>
                  <a:effectLst/>
                  <a:uLnTx/>
                  <a:uFillTx/>
                  <a:latin typeface="Avenir Next LT Pro Demi" panose="020B0704020202020204" pitchFamily="34" charset="0"/>
                  <a:ea typeface="+mn-ea"/>
                  <a:cs typeface="+mn-cs"/>
                </a:rPr>
                <a:t>X</a:t>
              </a:r>
            </a:p>
          </p:txBody>
        </p:sp>
        <p:sp>
          <p:nvSpPr>
            <p:cNvPr id="15" name="Rectangle 14">
              <a:extLst>
                <a:ext uri="{FF2B5EF4-FFF2-40B4-BE49-F238E27FC236}">
                  <a16:creationId xmlns:a16="http://schemas.microsoft.com/office/drawing/2014/main" id="{76320200-8441-F9B6-E5E9-F20620E825B4}"/>
                </a:ext>
              </a:extLst>
            </p:cNvPr>
            <p:cNvSpPr/>
            <p:nvPr/>
          </p:nvSpPr>
          <p:spPr>
            <a:xfrm>
              <a:off x="878638" y="2877965"/>
              <a:ext cx="5364507" cy="400050"/>
            </a:xfrm>
            <a:prstGeom prst="rect">
              <a:avLst/>
            </a:prstGeom>
            <a:solidFill>
              <a:srgbClr val="2C6A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900" b="0" i="0" u="none" strike="noStrike" kern="1200" cap="none" spc="0" normalizeH="0" baseline="0" noProof="0" dirty="0">
                  <a:ln>
                    <a:noFill/>
                  </a:ln>
                  <a:solidFill>
                    <a:srgbClr val="F1F2F2"/>
                  </a:solidFill>
                  <a:effectLst/>
                  <a:uLnTx/>
                  <a:uFillTx/>
                  <a:latin typeface="Avenir Next LT Pro Demi" panose="020B0704020202020204" pitchFamily="34" charset="0"/>
                  <a:ea typeface="+mn-ea"/>
                  <a:cs typeface="+mn-cs"/>
                </a:rPr>
                <a:t>X</a:t>
              </a:r>
            </a:p>
          </p:txBody>
        </p:sp>
      </p:grpSp>
      <p:sp>
        <p:nvSpPr>
          <p:cNvPr id="16" name="TextBox 15">
            <a:extLst>
              <a:ext uri="{FF2B5EF4-FFF2-40B4-BE49-F238E27FC236}">
                <a16:creationId xmlns:a16="http://schemas.microsoft.com/office/drawing/2014/main" id="{F45E0716-64E6-1323-A84D-6F3B626CED16}"/>
              </a:ext>
            </a:extLst>
          </p:cNvPr>
          <p:cNvSpPr txBox="1"/>
          <p:nvPr/>
        </p:nvSpPr>
        <p:spPr>
          <a:xfrm>
            <a:off x="5512526" y="1587603"/>
            <a:ext cx="5747658" cy="3515771"/>
          </a:xfrm>
          <a:prstGeom prst="rect">
            <a:avLst/>
          </a:prstGeom>
          <a:noFill/>
        </p:spPr>
        <p:txBody>
          <a:bodyPr wrap="square">
            <a:spAutoFit/>
          </a:bodyPr>
          <a:lstStyle/>
          <a:p>
            <a:pPr marL="0" marR="0" lvl="0" indent="0" algn="l" defTabSz="914400" rtl="0" eaLnBrk="1" fontAlgn="auto" latinLnBrk="0" hangingPunct="1">
              <a:lnSpc>
                <a:spcPts val="3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rPr>
              <a:t>Showing up to someone sitting in your booked station</a:t>
            </a:r>
          </a:p>
          <a:p>
            <a:pPr marL="0" marR="0" lvl="0" indent="0" algn="l" defTabSz="914400" rtl="0" eaLnBrk="1" fontAlgn="auto" latinLnBrk="0" hangingPunct="1">
              <a:lnSpc>
                <a:spcPts val="3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endParaRPr>
          </a:p>
          <a:p>
            <a:pPr marL="0" marR="0" lvl="0" indent="0" algn="l" defTabSz="914400" rtl="0" eaLnBrk="1" fontAlgn="auto" latinLnBrk="0" hangingPunct="1">
              <a:lnSpc>
                <a:spcPts val="3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rPr>
              <a:t>Not making use of the variety of available workpoints because booking and unbooking every time is a deterrent</a:t>
            </a:r>
          </a:p>
          <a:p>
            <a:pPr marL="0" marR="0" lvl="0" indent="0" algn="l" defTabSz="914400" rtl="0" eaLnBrk="1" fontAlgn="auto" latinLnBrk="0" hangingPunct="1">
              <a:lnSpc>
                <a:spcPts val="3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endParaRPr>
          </a:p>
          <a:p>
            <a:pPr marL="0" marR="0" lvl="0" indent="0" algn="l" defTabSz="914400" rtl="0" eaLnBrk="1" fontAlgn="auto" latinLnBrk="0" hangingPunct="1">
              <a:lnSpc>
                <a:spcPts val="3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rPr>
              <a:t>Wanting to move to a workpoint that looks vacant but is booked in the system</a:t>
            </a:r>
          </a:p>
        </p:txBody>
      </p:sp>
      <p:pic>
        <p:nvPicPr>
          <p:cNvPr id="19" name="Graphic 18" descr="Sad face outline with solid fill">
            <a:extLst>
              <a:ext uri="{FF2B5EF4-FFF2-40B4-BE49-F238E27FC236}">
                <a16:creationId xmlns:a16="http://schemas.microsoft.com/office/drawing/2014/main" id="{64642B8C-CCCA-0E40-102E-A890E395BC6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450079" y="1357091"/>
            <a:ext cx="636139" cy="636139"/>
          </a:xfrm>
          <a:prstGeom prst="rect">
            <a:avLst/>
          </a:prstGeom>
        </p:spPr>
      </p:pic>
      <p:pic>
        <p:nvPicPr>
          <p:cNvPr id="20" name="Graphic 19" descr="Sad face outline with solid fill">
            <a:extLst>
              <a:ext uri="{FF2B5EF4-FFF2-40B4-BE49-F238E27FC236}">
                <a16:creationId xmlns:a16="http://schemas.microsoft.com/office/drawing/2014/main" id="{95729F66-63E0-BEE6-A055-25B21DD5978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458787" y="2737459"/>
            <a:ext cx="636139" cy="636139"/>
          </a:xfrm>
          <a:prstGeom prst="rect">
            <a:avLst/>
          </a:prstGeom>
        </p:spPr>
      </p:pic>
      <p:pic>
        <p:nvPicPr>
          <p:cNvPr id="21" name="Graphic 20" descr="Sad face outline with solid fill">
            <a:extLst>
              <a:ext uri="{FF2B5EF4-FFF2-40B4-BE49-F238E27FC236}">
                <a16:creationId xmlns:a16="http://schemas.microsoft.com/office/drawing/2014/main" id="{F18607C3-0D8B-DD10-1397-CC8E6B0E3F8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450078" y="4104072"/>
            <a:ext cx="636139" cy="636139"/>
          </a:xfrm>
          <a:prstGeom prst="rect">
            <a:avLst/>
          </a:prstGeom>
        </p:spPr>
      </p:pic>
    </p:spTree>
    <p:extLst>
      <p:ext uri="{BB962C8B-B14F-4D97-AF65-F5344CB8AC3E}">
        <p14:creationId xmlns:p14="http://schemas.microsoft.com/office/powerpoint/2010/main" val="1598808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29FD096-C4F1-D143-8CB2-D0F373530E9B}"/>
              </a:ext>
            </a:extLst>
          </p:cNvPr>
          <p:cNvSpPr/>
          <p:nvPr/>
        </p:nvSpPr>
        <p:spPr>
          <a:xfrm>
            <a:off x="3886201" y="1032519"/>
            <a:ext cx="8305800" cy="468247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srgbClr val="F1F2F2"/>
              </a:solidFill>
              <a:effectLst/>
              <a:uLnTx/>
              <a:uFillTx/>
              <a:latin typeface="Arial"/>
              <a:ea typeface="+mn-ea"/>
              <a:cs typeface="+mn-cs"/>
            </a:endParaRPr>
          </a:p>
        </p:txBody>
      </p:sp>
      <p:sp>
        <p:nvSpPr>
          <p:cNvPr id="40" name="Rectangle 39">
            <a:extLst>
              <a:ext uri="{FF2B5EF4-FFF2-40B4-BE49-F238E27FC236}">
                <a16:creationId xmlns:a16="http://schemas.microsoft.com/office/drawing/2014/main" id="{C1CAF3EC-5397-512E-8CA3-5186BC8F2714}"/>
              </a:ext>
            </a:extLst>
          </p:cNvPr>
          <p:cNvSpPr/>
          <p:nvPr/>
        </p:nvSpPr>
        <p:spPr>
          <a:xfrm>
            <a:off x="4589416" y="1702293"/>
            <a:ext cx="3997234" cy="3335875"/>
          </a:xfrm>
          <a:prstGeom prst="rect">
            <a:avLst/>
          </a:prstGeom>
          <a:solidFill>
            <a:srgbClr val="96C258">
              <a:alpha val="3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3" name="TextBox 2">
            <a:extLst>
              <a:ext uri="{FF2B5EF4-FFF2-40B4-BE49-F238E27FC236}">
                <a16:creationId xmlns:a16="http://schemas.microsoft.com/office/drawing/2014/main" id="{43BB42A1-CAB7-F3BE-E39A-4715561A6063}"/>
              </a:ext>
            </a:extLst>
          </p:cNvPr>
          <p:cNvSpPr txBox="1"/>
          <p:nvPr/>
        </p:nvSpPr>
        <p:spPr>
          <a:xfrm>
            <a:off x="0" y="1032520"/>
            <a:ext cx="3707285" cy="4682480"/>
          </a:xfrm>
          <a:prstGeom prst="rect">
            <a:avLst/>
          </a:prstGeom>
          <a:solidFill>
            <a:srgbClr val="FFFFFF"/>
          </a:solidFill>
          <a:ln>
            <a:noFill/>
          </a:ln>
        </p:spPr>
        <p:txBody>
          <a:bodyPr wrap="square" lIns="360000" tIns="252000" rIns="360000" bIns="252000" rtlCol="0" anchor="ctr" anchorCtr="0">
            <a:noAutofit/>
          </a:bodyPr>
          <a:lstStyle/>
          <a:p>
            <a:pPr marL="0" marR="0" lvl="0" indent="0" algn="l" defTabSz="914400" rtl="0" eaLnBrk="0" fontAlgn="base" latinLnBrk="0" hangingPunct="0">
              <a:lnSpc>
                <a:spcPts val="3000"/>
              </a:lnSpc>
              <a:spcBef>
                <a:spcPct val="0"/>
              </a:spcBef>
              <a:spcAft>
                <a:spcPct val="0"/>
              </a:spcAft>
              <a:buClrTx/>
              <a:buSzTx/>
              <a:buFontTx/>
              <a:buNone/>
              <a:tabLst/>
              <a:defRPr/>
            </a:pPr>
            <a:r>
              <a:rPr kumimoji="0" lang="en-CA" sz="18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rPr>
              <a:t>Booking strategy best practices for GCworkplace:</a:t>
            </a:r>
          </a:p>
        </p:txBody>
      </p:sp>
      <p:sp>
        <p:nvSpPr>
          <p:cNvPr id="28" name="Title 1">
            <a:extLst>
              <a:ext uri="{FF2B5EF4-FFF2-40B4-BE49-F238E27FC236}">
                <a16:creationId xmlns:a16="http://schemas.microsoft.com/office/drawing/2014/main" id="{B67BD032-FF4C-CFDD-C454-D524FDB6BAA2}"/>
              </a:ext>
            </a:extLst>
          </p:cNvPr>
          <p:cNvSpPr txBox="1">
            <a:spLocks/>
          </p:cNvSpPr>
          <p:nvPr/>
        </p:nvSpPr>
        <p:spPr bwMode="auto">
          <a:xfrm>
            <a:off x="245304" y="188640"/>
            <a:ext cx="11333888" cy="843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r" defTabSz="912813" rtl="0" eaLnBrk="0" fontAlgn="base" hangingPunct="0">
              <a:lnSpc>
                <a:spcPct val="90000"/>
              </a:lnSpc>
              <a:spcBef>
                <a:spcPct val="0"/>
              </a:spcBef>
              <a:spcAft>
                <a:spcPct val="0"/>
              </a:spcAft>
              <a:defRPr sz="3200" b="1" kern="1200">
                <a:solidFill>
                  <a:srgbClr val="3F464A"/>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venir Next LT Pro Demi" panose="020B0704020202020204" pitchFamily="34" charset="0"/>
                <a:ea typeface="+mj-ea"/>
                <a:cs typeface="Arial" panose="020B0604020202020204" pitchFamily="34" charset="0"/>
              </a:rPr>
              <a:t>Space Booking Considerations for       GCworkplace</a:t>
            </a:r>
            <a:endParaRPr kumimoji="0" lang="en-CA" sz="2800" b="1" i="0" u="none" strike="noStrike" kern="1200" cap="none" spc="0" normalizeH="0" baseline="0" noProof="0" dirty="0">
              <a:ln>
                <a:noFill/>
              </a:ln>
              <a:solidFill>
                <a:srgbClr val="3F464A"/>
              </a:solidFill>
              <a:effectLst/>
              <a:uLnTx/>
              <a:uFillTx/>
              <a:latin typeface="Avenir Next LT Pro Demi" panose="020B0704020202020204" pitchFamily="34" charset="0"/>
              <a:ea typeface="+mj-ea"/>
              <a:cs typeface="+mj-cs"/>
            </a:endParaRPr>
          </a:p>
        </p:txBody>
      </p:sp>
      <p:pic>
        <p:nvPicPr>
          <p:cNvPr id="29" name="Picture 28">
            <a:extLst>
              <a:ext uri="{FF2B5EF4-FFF2-40B4-BE49-F238E27FC236}">
                <a16:creationId xmlns:a16="http://schemas.microsoft.com/office/drawing/2014/main" id="{76F451C7-AEDB-20F9-123F-786FECD23BFA}"/>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67476"/>
          <a:stretch/>
        </p:blipFill>
        <p:spPr>
          <a:xfrm>
            <a:off x="5913374" y="324205"/>
            <a:ext cx="539428" cy="494206"/>
          </a:xfrm>
          <a:prstGeom prst="rect">
            <a:avLst/>
          </a:prstGeom>
        </p:spPr>
      </p:pic>
      <p:grpSp>
        <p:nvGrpSpPr>
          <p:cNvPr id="2" name="Groupe 32">
            <a:extLst>
              <a:ext uri="{FF2B5EF4-FFF2-40B4-BE49-F238E27FC236}">
                <a16:creationId xmlns:a16="http://schemas.microsoft.com/office/drawing/2014/main" id="{C304F20F-B9E7-11B1-6DF3-31771325B2E8}"/>
              </a:ext>
            </a:extLst>
          </p:cNvPr>
          <p:cNvGrpSpPr/>
          <p:nvPr/>
        </p:nvGrpSpPr>
        <p:grpSpPr>
          <a:xfrm>
            <a:off x="-369553" y="1383223"/>
            <a:ext cx="343674" cy="4609136"/>
            <a:chOff x="878638" y="1074071"/>
            <a:chExt cx="5364507" cy="4609136"/>
          </a:xfrm>
        </p:grpSpPr>
        <p:sp>
          <p:nvSpPr>
            <p:cNvPr id="5" name="Rectangle 4">
              <a:extLst>
                <a:ext uri="{FF2B5EF4-FFF2-40B4-BE49-F238E27FC236}">
                  <a16:creationId xmlns:a16="http://schemas.microsoft.com/office/drawing/2014/main" id="{E6A8D504-A950-D031-403D-79937C389CA4}"/>
                </a:ext>
              </a:extLst>
            </p:cNvPr>
            <p:cNvSpPr/>
            <p:nvPr/>
          </p:nvSpPr>
          <p:spPr>
            <a:xfrm>
              <a:off x="878638" y="3479263"/>
              <a:ext cx="5364507" cy="400050"/>
            </a:xfrm>
            <a:prstGeom prst="rect">
              <a:avLst/>
            </a:prstGeom>
            <a:solidFill>
              <a:srgbClr val="FAA4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900" b="0" i="0" u="none" strike="noStrike" kern="1200" cap="none" spc="0" normalizeH="0" baseline="0" noProof="0" dirty="0">
                  <a:ln>
                    <a:noFill/>
                  </a:ln>
                  <a:solidFill>
                    <a:srgbClr val="F1F2F2"/>
                  </a:solidFill>
                  <a:effectLst/>
                  <a:uLnTx/>
                  <a:uFillTx/>
                  <a:latin typeface="Avenir Next LT Pro Demi" panose="020B0704020202020204" pitchFamily="34" charset="0"/>
                  <a:ea typeface="+mn-ea"/>
                  <a:cs typeface="+mn-cs"/>
                </a:rPr>
                <a:t>X</a:t>
              </a:r>
            </a:p>
          </p:txBody>
        </p:sp>
        <p:sp>
          <p:nvSpPr>
            <p:cNvPr id="9" name="Rectangle 8">
              <a:extLst>
                <a:ext uri="{FF2B5EF4-FFF2-40B4-BE49-F238E27FC236}">
                  <a16:creationId xmlns:a16="http://schemas.microsoft.com/office/drawing/2014/main" id="{95C10E85-D24B-14E3-F598-C3CA369E4B28}"/>
                </a:ext>
              </a:extLst>
            </p:cNvPr>
            <p:cNvSpPr/>
            <p:nvPr/>
          </p:nvSpPr>
          <p:spPr>
            <a:xfrm>
              <a:off x="878638" y="4080561"/>
              <a:ext cx="5364507" cy="400050"/>
            </a:xfrm>
            <a:prstGeom prst="rect">
              <a:avLst/>
            </a:prstGeom>
            <a:solidFill>
              <a:srgbClr val="C35E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900" b="0" i="0" u="none" strike="noStrike" kern="1200" cap="none" spc="0" normalizeH="0" baseline="0" noProof="0" dirty="0">
                  <a:ln>
                    <a:noFill/>
                  </a:ln>
                  <a:solidFill>
                    <a:srgbClr val="F1F2F2"/>
                  </a:solidFill>
                  <a:effectLst/>
                  <a:uLnTx/>
                  <a:uFillTx/>
                  <a:latin typeface="Avenir Next LT Pro Demi" panose="020B0704020202020204" pitchFamily="34" charset="0"/>
                  <a:ea typeface="+mn-ea"/>
                  <a:cs typeface="+mn-cs"/>
                </a:rPr>
                <a:t>X</a:t>
              </a:r>
            </a:p>
          </p:txBody>
        </p:sp>
        <p:sp>
          <p:nvSpPr>
            <p:cNvPr id="10" name="Rectangle 9">
              <a:extLst>
                <a:ext uri="{FF2B5EF4-FFF2-40B4-BE49-F238E27FC236}">
                  <a16:creationId xmlns:a16="http://schemas.microsoft.com/office/drawing/2014/main" id="{749FF3C4-7A20-CB72-95EE-B09D7DC8215A}"/>
                </a:ext>
              </a:extLst>
            </p:cNvPr>
            <p:cNvSpPr/>
            <p:nvPr/>
          </p:nvSpPr>
          <p:spPr>
            <a:xfrm>
              <a:off x="878638" y="4681859"/>
              <a:ext cx="5364507" cy="400050"/>
            </a:xfrm>
            <a:prstGeom prst="rect">
              <a:avLst/>
            </a:prstGeom>
            <a:solidFill>
              <a:srgbClr val="A232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900" b="0" i="0" u="none" strike="noStrike" kern="1200" cap="none" spc="0" normalizeH="0" baseline="0" noProof="0" dirty="0">
                  <a:ln>
                    <a:noFill/>
                  </a:ln>
                  <a:solidFill>
                    <a:srgbClr val="F1F2F2"/>
                  </a:solidFill>
                  <a:effectLst/>
                  <a:uLnTx/>
                  <a:uFillTx/>
                  <a:latin typeface="Avenir Next LT Pro Demi" panose="020B0704020202020204" pitchFamily="34" charset="0"/>
                  <a:ea typeface="+mn-ea"/>
                  <a:cs typeface="+mn-cs"/>
                </a:rPr>
                <a:t>X</a:t>
              </a:r>
            </a:p>
          </p:txBody>
        </p:sp>
        <p:sp>
          <p:nvSpPr>
            <p:cNvPr id="11" name="Rectangle 10">
              <a:extLst>
                <a:ext uri="{FF2B5EF4-FFF2-40B4-BE49-F238E27FC236}">
                  <a16:creationId xmlns:a16="http://schemas.microsoft.com/office/drawing/2014/main" id="{1336478E-E2B2-520F-DE3F-143F562E7409}"/>
                </a:ext>
              </a:extLst>
            </p:cNvPr>
            <p:cNvSpPr/>
            <p:nvPr/>
          </p:nvSpPr>
          <p:spPr>
            <a:xfrm>
              <a:off x="878638" y="5283157"/>
              <a:ext cx="5364507" cy="400050"/>
            </a:xfrm>
            <a:prstGeom prst="rect">
              <a:avLst/>
            </a:prstGeom>
            <a:solidFill>
              <a:srgbClr val="7778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900" b="0" i="0" u="none" strike="noStrike" kern="1200" cap="none" spc="0" normalizeH="0" baseline="0" noProof="0" dirty="0">
                  <a:ln>
                    <a:noFill/>
                  </a:ln>
                  <a:solidFill>
                    <a:srgbClr val="F1F2F2"/>
                  </a:solidFill>
                  <a:effectLst/>
                  <a:uLnTx/>
                  <a:uFillTx/>
                  <a:latin typeface="Avenir Next LT Pro Demi" panose="020B0704020202020204" pitchFamily="34" charset="0"/>
                  <a:ea typeface="+mn-ea"/>
                  <a:cs typeface="+mn-cs"/>
                </a:rPr>
                <a:t>X</a:t>
              </a:r>
            </a:p>
          </p:txBody>
        </p:sp>
        <p:sp>
          <p:nvSpPr>
            <p:cNvPr id="12" name="Rectangle 11">
              <a:extLst>
                <a:ext uri="{FF2B5EF4-FFF2-40B4-BE49-F238E27FC236}">
                  <a16:creationId xmlns:a16="http://schemas.microsoft.com/office/drawing/2014/main" id="{A9284B88-1F69-9D7A-C8F3-011E6BF117BF}"/>
                </a:ext>
              </a:extLst>
            </p:cNvPr>
            <p:cNvSpPr/>
            <p:nvPr/>
          </p:nvSpPr>
          <p:spPr>
            <a:xfrm>
              <a:off x="878638" y="1074071"/>
              <a:ext cx="5364507" cy="400050"/>
            </a:xfrm>
            <a:prstGeom prst="rect">
              <a:avLst/>
            </a:prstGeom>
            <a:solidFill>
              <a:srgbClr val="AFA9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900" b="0" i="0" u="none" strike="noStrike" kern="1200" cap="none" spc="0" normalizeH="0" baseline="0" noProof="0" dirty="0">
                  <a:ln>
                    <a:noFill/>
                  </a:ln>
                  <a:solidFill>
                    <a:srgbClr val="F1F2F2"/>
                  </a:solidFill>
                  <a:effectLst/>
                  <a:uLnTx/>
                  <a:uFillTx/>
                  <a:latin typeface="Avenir Next LT Pro Demi" panose="020B0704020202020204" pitchFamily="34" charset="0"/>
                  <a:ea typeface="+mn-ea"/>
                  <a:cs typeface="+mn-cs"/>
                </a:rPr>
                <a:t>X</a:t>
              </a:r>
            </a:p>
          </p:txBody>
        </p:sp>
        <p:sp>
          <p:nvSpPr>
            <p:cNvPr id="13" name="Rectangle 12">
              <a:extLst>
                <a:ext uri="{FF2B5EF4-FFF2-40B4-BE49-F238E27FC236}">
                  <a16:creationId xmlns:a16="http://schemas.microsoft.com/office/drawing/2014/main" id="{763D48D4-D143-2020-BCEC-0A1F99086649}"/>
                </a:ext>
              </a:extLst>
            </p:cNvPr>
            <p:cNvSpPr/>
            <p:nvPr/>
          </p:nvSpPr>
          <p:spPr>
            <a:xfrm>
              <a:off x="878638" y="1675369"/>
              <a:ext cx="5364507" cy="400050"/>
            </a:xfrm>
            <a:prstGeom prst="rect">
              <a:avLst/>
            </a:prstGeom>
            <a:solidFill>
              <a:srgbClr val="96C2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900" b="0" i="0" u="none" strike="noStrike" kern="1200" cap="none" spc="0" normalizeH="0" baseline="0" noProof="0" dirty="0">
                  <a:ln>
                    <a:noFill/>
                  </a:ln>
                  <a:solidFill>
                    <a:srgbClr val="F1F2F2"/>
                  </a:solidFill>
                  <a:effectLst/>
                  <a:uLnTx/>
                  <a:uFillTx/>
                  <a:latin typeface="Avenir Next LT Pro Demi" panose="020B0704020202020204" pitchFamily="34" charset="0"/>
                  <a:ea typeface="+mn-ea"/>
                  <a:cs typeface="+mn-cs"/>
                </a:rPr>
                <a:t>X</a:t>
              </a:r>
            </a:p>
          </p:txBody>
        </p:sp>
        <p:sp>
          <p:nvSpPr>
            <p:cNvPr id="14" name="Rectangle 13">
              <a:extLst>
                <a:ext uri="{FF2B5EF4-FFF2-40B4-BE49-F238E27FC236}">
                  <a16:creationId xmlns:a16="http://schemas.microsoft.com/office/drawing/2014/main" id="{34A5B8E2-7965-633D-927A-7C60E75B1733}"/>
                </a:ext>
              </a:extLst>
            </p:cNvPr>
            <p:cNvSpPr/>
            <p:nvPr/>
          </p:nvSpPr>
          <p:spPr>
            <a:xfrm>
              <a:off x="878638" y="2276667"/>
              <a:ext cx="5364507" cy="400050"/>
            </a:xfrm>
            <a:prstGeom prst="rect">
              <a:avLst/>
            </a:prstGeom>
            <a:solidFill>
              <a:srgbClr val="4097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900" b="0" i="0" u="none" strike="noStrike" kern="1200" cap="none" spc="0" normalizeH="0" baseline="0" noProof="0" dirty="0">
                  <a:ln>
                    <a:noFill/>
                  </a:ln>
                  <a:solidFill>
                    <a:srgbClr val="F1F2F2"/>
                  </a:solidFill>
                  <a:effectLst/>
                  <a:uLnTx/>
                  <a:uFillTx/>
                  <a:latin typeface="Avenir Next LT Pro Demi" panose="020B0704020202020204" pitchFamily="34" charset="0"/>
                  <a:ea typeface="+mn-ea"/>
                  <a:cs typeface="+mn-cs"/>
                </a:rPr>
                <a:t>X</a:t>
              </a:r>
            </a:p>
          </p:txBody>
        </p:sp>
        <p:sp>
          <p:nvSpPr>
            <p:cNvPr id="15" name="Rectangle 14">
              <a:extLst>
                <a:ext uri="{FF2B5EF4-FFF2-40B4-BE49-F238E27FC236}">
                  <a16:creationId xmlns:a16="http://schemas.microsoft.com/office/drawing/2014/main" id="{76320200-8441-F9B6-E5E9-F20620E825B4}"/>
                </a:ext>
              </a:extLst>
            </p:cNvPr>
            <p:cNvSpPr/>
            <p:nvPr/>
          </p:nvSpPr>
          <p:spPr>
            <a:xfrm>
              <a:off x="878638" y="2877965"/>
              <a:ext cx="5364507" cy="400050"/>
            </a:xfrm>
            <a:prstGeom prst="rect">
              <a:avLst/>
            </a:prstGeom>
            <a:solidFill>
              <a:srgbClr val="2C6A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900" b="0" i="0" u="none" strike="noStrike" kern="1200" cap="none" spc="0" normalizeH="0" baseline="0" noProof="0" dirty="0">
                  <a:ln>
                    <a:noFill/>
                  </a:ln>
                  <a:solidFill>
                    <a:srgbClr val="F1F2F2"/>
                  </a:solidFill>
                  <a:effectLst/>
                  <a:uLnTx/>
                  <a:uFillTx/>
                  <a:latin typeface="Avenir Next LT Pro Demi" panose="020B0704020202020204" pitchFamily="34" charset="0"/>
                  <a:ea typeface="+mn-ea"/>
                  <a:cs typeface="+mn-cs"/>
                </a:rPr>
                <a:t>X</a:t>
              </a:r>
            </a:p>
          </p:txBody>
        </p:sp>
      </p:grpSp>
      <p:sp>
        <p:nvSpPr>
          <p:cNvPr id="55" name="Freeform: Shape 54">
            <a:extLst>
              <a:ext uri="{FF2B5EF4-FFF2-40B4-BE49-F238E27FC236}">
                <a16:creationId xmlns:a16="http://schemas.microsoft.com/office/drawing/2014/main" id="{D8C44228-9D7D-E91D-7307-9DF5398A9AB8}"/>
              </a:ext>
            </a:extLst>
          </p:cNvPr>
          <p:cNvSpPr/>
          <p:nvPr/>
        </p:nvSpPr>
        <p:spPr>
          <a:xfrm>
            <a:off x="5207726" y="2420983"/>
            <a:ext cx="513805" cy="1645920"/>
          </a:xfrm>
          <a:custGeom>
            <a:avLst/>
            <a:gdLst>
              <a:gd name="connsiteX0" fmla="*/ 60960 w 513805"/>
              <a:gd name="connsiteY0" fmla="*/ 0 h 1645920"/>
              <a:gd name="connsiteX1" fmla="*/ 304800 w 513805"/>
              <a:gd name="connsiteY1" fmla="*/ 17417 h 1645920"/>
              <a:gd name="connsiteX2" fmla="*/ 296091 w 513805"/>
              <a:gd name="connsiteY2" fmla="*/ 409303 h 1645920"/>
              <a:gd name="connsiteX3" fmla="*/ 513805 w 513805"/>
              <a:gd name="connsiteY3" fmla="*/ 618308 h 1645920"/>
              <a:gd name="connsiteX4" fmla="*/ 505097 w 513805"/>
              <a:gd name="connsiteY4" fmla="*/ 1645920 h 1645920"/>
              <a:gd name="connsiteX5" fmla="*/ 269965 w 513805"/>
              <a:gd name="connsiteY5" fmla="*/ 1628503 h 1645920"/>
              <a:gd name="connsiteX6" fmla="*/ 278674 w 513805"/>
              <a:gd name="connsiteY6" fmla="*/ 1515291 h 1645920"/>
              <a:gd name="connsiteX7" fmla="*/ 104503 w 513805"/>
              <a:gd name="connsiteY7" fmla="*/ 1515291 h 1645920"/>
              <a:gd name="connsiteX8" fmla="*/ 95794 w 513805"/>
              <a:gd name="connsiteY8" fmla="*/ 827314 h 1645920"/>
              <a:gd name="connsiteX9" fmla="*/ 8708 w 513805"/>
              <a:gd name="connsiteY9" fmla="*/ 809897 h 1645920"/>
              <a:gd name="connsiteX10" fmla="*/ 0 w 513805"/>
              <a:gd name="connsiteY10" fmla="*/ 391886 h 1645920"/>
              <a:gd name="connsiteX11" fmla="*/ 43543 w 513805"/>
              <a:gd name="connsiteY11" fmla="*/ 391886 h 1645920"/>
              <a:gd name="connsiteX12" fmla="*/ 60960 w 513805"/>
              <a:gd name="connsiteY12" fmla="*/ 0 h 1645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3805" h="1645920">
                <a:moveTo>
                  <a:pt x="60960" y="0"/>
                </a:moveTo>
                <a:lnTo>
                  <a:pt x="304800" y="17417"/>
                </a:lnTo>
                <a:lnTo>
                  <a:pt x="296091" y="409303"/>
                </a:lnTo>
                <a:lnTo>
                  <a:pt x="513805" y="618308"/>
                </a:lnTo>
                <a:cubicBezTo>
                  <a:pt x="510902" y="960845"/>
                  <a:pt x="508000" y="1303383"/>
                  <a:pt x="505097" y="1645920"/>
                </a:cubicBezTo>
                <a:lnTo>
                  <a:pt x="269965" y="1628503"/>
                </a:lnTo>
                <a:lnTo>
                  <a:pt x="278674" y="1515291"/>
                </a:lnTo>
                <a:lnTo>
                  <a:pt x="104503" y="1515291"/>
                </a:lnTo>
                <a:lnTo>
                  <a:pt x="95794" y="827314"/>
                </a:lnTo>
                <a:lnTo>
                  <a:pt x="8708" y="809897"/>
                </a:lnTo>
                <a:lnTo>
                  <a:pt x="0" y="391886"/>
                </a:lnTo>
                <a:lnTo>
                  <a:pt x="43543" y="391886"/>
                </a:lnTo>
                <a:lnTo>
                  <a:pt x="60960" y="0"/>
                </a:lnTo>
                <a:close/>
              </a:path>
            </a:pathLst>
          </a:cu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49" name="Rectangle 48">
            <a:extLst>
              <a:ext uri="{FF2B5EF4-FFF2-40B4-BE49-F238E27FC236}">
                <a16:creationId xmlns:a16="http://schemas.microsoft.com/office/drawing/2014/main" id="{40B7127B-B109-4974-8FAC-2E4C707E5A20}"/>
              </a:ext>
            </a:extLst>
          </p:cNvPr>
          <p:cNvSpPr/>
          <p:nvPr/>
        </p:nvSpPr>
        <p:spPr>
          <a:xfrm>
            <a:off x="6069624" y="4405010"/>
            <a:ext cx="566307" cy="569150"/>
          </a:xfrm>
          <a:prstGeom prst="rect">
            <a:avLst/>
          </a:prstGeom>
          <a:solidFill>
            <a:srgbClr val="00B050">
              <a:alpha val="3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pic>
        <p:nvPicPr>
          <p:cNvPr id="17" name="Picture 16">
            <a:extLst>
              <a:ext uri="{FF2B5EF4-FFF2-40B4-BE49-F238E27FC236}">
                <a16:creationId xmlns:a16="http://schemas.microsoft.com/office/drawing/2014/main" id="{5C8825E8-091C-51AF-847F-D2AEAA5F2238}"/>
              </a:ext>
            </a:extLst>
          </p:cNvPr>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6354" t="3179" r="7332" b="3664"/>
          <a:stretch/>
        </p:blipFill>
        <p:spPr>
          <a:xfrm>
            <a:off x="4511534" y="1641729"/>
            <a:ext cx="4153588" cy="3464059"/>
          </a:xfrm>
          <a:prstGeom prst="rect">
            <a:avLst/>
          </a:prstGeom>
        </p:spPr>
      </p:pic>
      <p:sp>
        <p:nvSpPr>
          <p:cNvPr id="41" name="Rectangle 40">
            <a:extLst>
              <a:ext uri="{FF2B5EF4-FFF2-40B4-BE49-F238E27FC236}">
                <a16:creationId xmlns:a16="http://schemas.microsoft.com/office/drawing/2014/main" id="{9F0C788C-73FA-6B27-7C38-6355CF783CCC}"/>
              </a:ext>
            </a:extLst>
          </p:cNvPr>
          <p:cNvSpPr/>
          <p:nvPr/>
        </p:nvSpPr>
        <p:spPr>
          <a:xfrm>
            <a:off x="4589416" y="1702292"/>
            <a:ext cx="827065" cy="514299"/>
          </a:xfrm>
          <a:prstGeom prst="rect">
            <a:avLst/>
          </a:prstGeom>
          <a:solidFill>
            <a:srgbClr val="00B0F0">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42" name="Rectangle 41">
            <a:extLst>
              <a:ext uri="{FF2B5EF4-FFF2-40B4-BE49-F238E27FC236}">
                <a16:creationId xmlns:a16="http://schemas.microsoft.com/office/drawing/2014/main" id="{2ED238B5-4B6E-F99A-FAF9-4C83139F4E18}"/>
              </a:ext>
            </a:extLst>
          </p:cNvPr>
          <p:cNvSpPr/>
          <p:nvPr/>
        </p:nvSpPr>
        <p:spPr>
          <a:xfrm>
            <a:off x="6311861" y="2216591"/>
            <a:ext cx="968504" cy="696686"/>
          </a:xfrm>
          <a:prstGeom prst="rect">
            <a:avLst/>
          </a:prstGeom>
          <a:solidFill>
            <a:srgbClr val="00B0F0">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43" name="Rectangle 42">
            <a:extLst>
              <a:ext uri="{FF2B5EF4-FFF2-40B4-BE49-F238E27FC236}">
                <a16:creationId xmlns:a16="http://schemas.microsoft.com/office/drawing/2014/main" id="{73060E25-2857-7FCE-C789-B538F27726BD}"/>
              </a:ext>
            </a:extLst>
          </p:cNvPr>
          <p:cNvSpPr/>
          <p:nvPr/>
        </p:nvSpPr>
        <p:spPr>
          <a:xfrm>
            <a:off x="7519975" y="2216591"/>
            <a:ext cx="1066675" cy="696686"/>
          </a:xfrm>
          <a:prstGeom prst="rect">
            <a:avLst/>
          </a:prstGeom>
          <a:solidFill>
            <a:srgbClr val="00B0F0">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44" name="Rectangle 43">
            <a:extLst>
              <a:ext uri="{FF2B5EF4-FFF2-40B4-BE49-F238E27FC236}">
                <a16:creationId xmlns:a16="http://schemas.microsoft.com/office/drawing/2014/main" id="{F67FD6E1-E5C3-E818-592F-8FA4C3E302DF}"/>
              </a:ext>
            </a:extLst>
          </p:cNvPr>
          <p:cNvSpPr/>
          <p:nvPr/>
        </p:nvSpPr>
        <p:spPr>
          <a:xfrm>
            <a:off x="7959633" y="2915858"/>
            <a:ext cx="629644" cy="598310"/>
          </a:xfrm>
          <a:prstGeom prst="rect">
            <a:avLst/>
          </a:prstGeom>
          <a:solidFill>
            <a:srgbClr val="00B0F0">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45" name="Rectangle 44">
            <a:extLst>
              <a:ext uri="{FF2B5EF4-FFF2-40B4-BE49-F238E27FC236}">
                <a16:creationId xmlns:a16="http://schemas.microsoft.com/office/drawing/2014/main" id="{847DA3F1-318D-3C47-C6D0-E17AB517D2BC}"/>
              </a:ext>
            </a:extLst>
          </p:cNvPr>
          <p:cNvSpPr/>
          <p:nvPr/>
        </p:nvSpPr>
        <p:spPr>
          <a:xfrm>
            <a:off x="7720023" y="2903828"/>
            <a:ext cx="239611" cy="375209"/>
          </a:xfrm>
          <a:prstGeom prst="rect">
            <a:avLst/>
          </a:prstGeom>
          <a:solidFill>
            <a:srgbClr val="00B0F0">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DB4979E5-8317-941A-1857-3AFCDBA19B3D}"/>
              </a:ext>
            </a:extLst>
          </p:cNvPr>
          <p:cNvSpPr/>
          <p:nvPr/>
        </p:nvSpPr>
        <p:spPr>
          <a:xfrm>
            <a:off x="8142513" y="4334340"/>
            <a:ext cx="444137" cy="311943"/>
          </a:xfrm>
          <a:prstGeom prst="rect">
            <a:avLst/>
          </a:prstGeom>
          <a:solidFill>
            <a:srgbClr val="00B0F0">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47" name="Rectangle 46">
            <a:extLst>
              <a:ext uri="{FF2B5EF4-FFF2-40B4-BE49-F238E27FC236}">
                <a16:creationId xmlns:a16="http://schemas.microsoft.com/office/drawing/2014/main" id="{BC1D7504-DC93-79ED-3CA1-60B621543DED}"/>
              </a:ext>
            </a:extLst>
          </p:cNvPr>
          <p:cNvSpPr/>
          <p:nvPr/>
        </p:nvSpPr>
        <p:spPr>
          <a:xfrm>
            <a:off x="6806962" y="3373682"/>
            <a:ext cx="473403" cy="327461"/>
          </a:xfrm>
          <a:prstGeom prst="rect">
            <a:avLst/>
          </a:prstGeom>
          <a:solidFill>
            <a:srgbClr val="00B0F0">
              <a:alpha val="3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50" name="Rectangle 49">
            <a:extLst>
              <a:ext uri="{FF2B5EF4-FFF2-40B4-BE49-F238E27FC236}">
                <a16:creationId xmlns:a16="http://schemas.microsoft.com/office/drawing/2014/main" id="{28D750FF-94D8-5A78-B01A-710B992809C9}"/>
              </a:ext>
            </a:extLst>
          </p:cNvPr>
          <p:cNvSpPr/>
          <p:nvPr/>
        </p:nvSpPr>
        <p:spPr>
          <a:xfrm>
            <a:off x="9129081" y="1643910"/>
            <a:ext cx="2360023" cy="1001817"/>
          </a:xfrm>
          <a:prstGeom prst="rect">
            <a:avLst/>
          </a:prstGeom>
          <a:solidFill>
            <a:srgbClr val="D6E7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000000"/>
                </a:solidFill>
                <a:effectLst/>
                <a:uLnTx/>
                <a:uFillTx/>
                <a:latin typeface="Arial"/>
                <a:ea typeface="+mn-ea"/>
                <a:cs typeface="+mn-cs"/>
              </a:rPr>
              <a:t>General Admiss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Use </a:t>
            </a:r>
            <a:r>
              <a:rPr kumimoji="0" lang="fr-CA" sz="1400" b="0" i="0" u="none" strike="noStrike" kern="1200" cap="none" spc="0" normalizeH="0" baseline="0" noProof="0" dirty="0" err="1">
                <a:ln>
                  <a:noFill/>
                </a:ln>
                <a:solidFill>
                  <a:srgbClr val="000000"/>
                </a:solidFill>
                <a:effectLst/>
                <a:uLnTx/>
                <a:uFillTx/>
                <a:latin typeface="Arial"/>
                <a:ea typeface="+mn-ea"/>
                <a:cs typeface="+mn-cs"/>
              </a:rPr>
              <a:t>what</a:t>
            </a:r>
            <a:r>
              <a:rPr kumimoji="0" lang="fr-CA" sz="1400" b="0" i="0" u="none" strike="noStrike" kern="1200" cap="none" spc="0" normalizeH="0" baseline="0" noProof="0" dirty="0">
                <a:ln>
                  <a:noFill/>
                </a:ln>
                <a:solidFill>
                  <a:srgbClr val="000000"/>
                </a:solidFill>
                <a:effectLst/>
                <a:uLnTx/>
                <a:uFillTx/>
                <a:latin typeface="Arial"/>
                <a:ea typeface="+mn-ea"/>
                <a:cs typeface="+mn-cs"/>
              </a:rPr>
              <a:t> </a:t>
            </a:r>
            <a:r>
              <a:rPr kumimoji="0" lang="fr-CA" sz="1400" b="0" i="0" u="none" strike="noStrike" kern="1200" cap="none" spc="0" normalizeH="0" baseline="0" noProof="0" dirty="0" err="1">
                <a:ln>
                  <a:noFill/>
                </a:ln>
                <a:solidFill>
                  <a:srgbClr val="000000"/>
                </a:solidFill>
                <a:effectLst/>
                <a:uLnTx/>
                <a:uFillTx/>
                <a:latin typeface="Arial"/>
                <a:ea typeface="+mn-ea"/>
                <a:cs typeface="+mn-cs"/>
              </a:rPr>
              <a:t>you</a:t>
            </a:r>
            <a:r>
              <a:rPr kumimoji="0" lang="fr-CA" sz="1400" b="0" i="0" u="none" strike="noStrike" kern="1200" cap="none" spc="0" normalizeH="0" baseline="0" noProof="0" dirty="0">
                <a:ln>
                  <a:noFill/>
                </a:ln>
                <a:solidFill>
                  <a:srgbClr val="000000"/>
                </a:solidFill>
                <a:effectLst/>
                <a:uLnTx/>
                <a:uFillTx/>
                <a:latin typeface="Arial"/>
                <a:ea typeface="+mn-ea"/>
                <a:cs typeface="+mn-cs"/>
              </a:rPr>
              <a:t> </a:t>
            </a:r>
            <a:r>
              <a:rPr kumimoji="0" lang="fr-CA" sz="1400" b="0" i="0" u="none" strike="noStrike" kern="1200" cap="none" spc="0" normalizeH="0" baseline="0" noProof="0" dirty="0" err="1">
                <a:ln>
                  <a:noFill/>
                </a:ln>
                <a:solidFill>
                  <a:srgbClr val="000000"/>
                </a:solidFill>
                <a:effectLst/>
                <a:uLnTx/>
                <a:uFillTx/>
                <a:latin typeface="Arial"/>
                <a:ea typeface="+mn-ea"/>
                <a:cs typeface="+mn-cs"/>
              </a:rPr>
              <a:t>see</a:t>
            </a:r>
            <a:r>
              <a:rPr kumimoji="0" lang="fr-CA" sz="1400" b="0" i="0" u="none" strike="noStrike" kern="1200" cap="none" spc="0" normalizeH="0" baseline="0" noProof="0" dirty="0">
                <a:ln>
                  <a:noFill/>
                </a:ln>
                <a:solidFill>
                  <a:srgbClr val="000000"/>
                </a:solidFill>
                <a:effectLst/>
                <a:uLnTx/>
                <a:uFillTx/>
                <a:latin typeface="Arial"/>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Manage </a:t>
            </a:r>
            <a:r>
              <a:rPr kumimoji="0" lang="fr-CA" sz="1400" b="0" i="0" u="none" strike="noStrike" kern="1200" cap="none" spc="0" normalizeH="0" baseline="0" noProof="0" dirty="0" err="1">
                <a:ln>
                  <a:noFill/>
                </a:ln>
                <a:solidFill>
                  <a:srgbClr val="000000"/>
                </a:solidFill>
                <a:effectLst/>
                <a:uLnTx/>
                <a:uFillTx/>
                <a:latin typeface="Arial"/>
                <a:ea typeface="+mn-ea"/>
                <a:cs typeface="+mn-cs"/>
              </a:rPr>
              <a:t>occupancy</a:t>
            </a:r>
            <a:endParaRPr kumimoji="0" lang="fr-CA"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1" name="Rectangle 50">
            <a:extLst>
              <a:ext uri="{FF2B5EF4-FFF2-40B4-BE49-F238E27FC236}">
                <a16:creationId xmlns:a16="http://schemas.microsoft.com/office/drawing/2014/main" id="{25FE4936-F50B-74B1-C2EE-A1898C513FBD}"/>
              </a:ext>
            </a:extLst>
          </p:cNvPr>
          <p:cNvSpPr/>
          <p:nvPr/>
        </p:nvSpPr>
        <p:spPr>
          <a:xfrm>
            <a:off x="9129081" y="2840130"/>
            <a:ext cx="2360023" cy="1001817"/>
          </a:xfrm>
          <a:prstGeom prst="rect">
            <a:avLst/>
          </a:prstGeom>
          <a:solidFill>
            <a:srgbClr val="89D3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err="1">
                <a:ln>
                  <a:noFill/>
                </a:ln>
                <a:solidFill>
                  <a:srgbClr val="000000"/>
                </a:solidFill>
                <a:effectLst/>
                <a:uLnTx/>
                <a:uFillTx/>
                <a:latin typeface="Arial"/>
                <a:ea typeface="+mn-ea"/>
                <a:cs typeface="+mn-cs"/>
              </a:rPr>
              <a:t>Bookable</a:t>
            </a:r>
            <a:r>
              <a:rPr kumimoji="0" lang="fr-CA" sz="1600" b="1" i="0" u="none" strike="noStrike" kern="1200" cap="none" spc="0" normalizeH="0" baseline="0" noProof="0" dirty="0">
                <a:ln>
                  <a:noFill/>
                </a:ln>
                <a:solidFill>
                  <a:srgbClr val="000000"/>
                </a:solidFill>
                <a:effectLst/>
                <a:uLnTx/>
                <a:uFillTx/>
                <a:latin typeface="Arial"/>
                <a:ea typeface="+mn-ea"/>
                <a:cs typeface="+mn-cs"/>
              </a:rPr>
              <a:t> by the </a:t>
            </a:r>
            <a:r>
              <a:rPr kumimoji="0" lang="fr-CA" sz="1600" b="1" i="0" u="none" strike="noStrike" kern="1200" cap="none" spc="0" normalizeH="0" baseline="0" noProof="0" dirty="0" err="1">
                <a:ln>
                  <a:noFill/>
                </a:ln>
                <a:solidFill>
                  <a:srgbClr val="000000"/>
                </a:solidFill>
                <a:effectLst/>
                <a:uLnTx/>
                <a:uFillTx/>
                <a:latin typeface="Arial"/>
                <a:ea typeface="+mn-ea"/>
                <a:cs typeface="+mn-cs"/>
              </a:rPr>
              <a:t>Hour</a:t>
            </a:r>
            <a:endParaRPr kumimoji="0" lang="fr-CA" sz="16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Meeting </a:t>
            </a:r>
            <a:r>
              <a:rPr kumimoji="0" lang="fr-CA" sz="1400" b="0" i="0" u="none" strike="noStrike" kern="1200" cap="none" spc="0" normalizeH="0" baseline="0" noProof="0" dirty="0" err="1">
                <a:ln>
                  <a:noFill/>
                </a:ln>
                <a:solidFill>
                  <a:srgbClr val="000000"/>
                </a:solidFill>
                <a:effectLst/>
                <a:uLnTx/>
                <a:uFillTx/>
                <a:latin typeface="Arial"/>
                <a:ea typeface="+mn-ea"/>
                <a:cs typeface="+mn-cs"/>
              </a:rPr>
              <a:t>Spaces</a:t>
            </a:r>
            <a:endParaRPr kumimoji="0" lang="fr-CA" sz="1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Need to plan </a:t>
            </a:r>
            <a:r>
              <a:rPr kumimoji="0" lang="fr-CA" sz="1400" b="0" i="0" u="none" strike="noStrike" kern="1200" cap="none" spc="0" normalizeH="0" baseline="0" noProof="0" dirty="0" err="1">
                <a:ln>
                  <a:noFill/>
                </a:ln>
                <a:solidFill>
                  <a:srgbClr val="000000"/>
                </a:solidFill>
                <a:effectLst/>
                <a:uLnTx/>
                <a:uFillTx/>
                <a:latin typeface="Arial"/>
                <a:ea typeface="+mn-ea"/>
                <a:cs typeface="+mn-cs"/>
              </a:rPr>
              <a:t>ahead</a:t>
            </a:r>
            <a:endParaRPr kumimoji="0" lang="en-CA"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2" name="Rectangle 51">
            <a:extLst>
              <a:ext uri="{FF2B5EF4-FFF2-40B4-BE49-F238E27FC236}">
                <a16:creationId xmlns:a16="http://schemas.microsoft.com/office/drawing/2014/main" id="{046A4A7C-343F-5CE7-BE0F-F46D3693F725}"/>
              </a:ext>
            </a:extLst>
          </p:cNvPr>
          <p:cNvSpPr/>
          <p:nvPr/>
        </p:nvSpPr>
        <p:spPr>
          <a:xfrm>
            <a:off x="9129082" y="4036351"/>
            <a:ext cx="2360023" cy="1001817"/>
          </a:xfrm>
          <a:prstGeom prst="rect">
            <a:avLst/>
          </a:prstGeom>
          <a:solidFill>
            <a:srgbClr val="85D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000000"/>
                </a:solidFill>
                <a:effectLst/>
                <a:uLnTx/>
                <a:uFillTx/>
                <a:latin typeface="Arial"/>
                <a:ea typeface="+mn-ea"/>
                <a:cs typeface="+mn-cs"/>
              </a:rPr>
              <a:t>Alternative Opt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Adaptation </a:t>
            </a:r>
            <a:r>
              <a:rPr kumimoji="0" lang="fr-CA" sz="1400" b="0" i="0" u="none" strike="noStrike" kern="1200" cap="none" spc="0" normalizeH="0" baseline="0" noProof="0" dirty="0" err="1">
                <a:ln>
                  <a:noFill/>
                </a:ln>
                <a:solidFill>
                  <a:srgbClr val="000000"/>
                </a:solidFill>
                <a:effectLst/>
                <a:uLnTx/>
                <a:uFillTx/>
                <a:latin typeface="Arial"/>
                <a:ea typeface="+mn-ea"/>
                <a:cs typeface="+mn-cs"/>
              </a:rPr>
              <a:t>reassurance</a:t>
            </a:r>
            <a:endParaRPr kumimoji="0" lang="fr-CA" sz="1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Can </a:t>
            </a:r>
            <a:r>
              <a:rPr kumimoji="0" lang="fr-CA" sz="1400" b="0" i="0" u="none" strike="noStrike" kern="1200" cap="none" spc="0" normalizeH="0" baseline="0" noProof="0" dirty="0" err="1">
                <a:ln>
                  <a:noFill/>
                </a:ln>
                <a:solidFill>
                  <a:srgbClr val="000000"/>
                </a:solidFill>
                <a:effectLst/>
                <a:uLnTx/>
                <a:uFillTx/>
                <a:latin typeface="Arial"/>
                <a:ea typeface="+mn-ea"/>
                <a:cs typeface="+mn-cs"/>
              </a:rPr>
              <a:t>add</a:t>
            </a:r>
            <a:r>
              <a:rPr kumimoji="0" lang="fr-CA" sz="1400" b="0" i="0" u="none" strike="noStrike" kern="1200" cap="none" spc="0" normalizeH="0" baseline="0" noProof="0" dirty="0">
                <a:ln>
                  <a:noFill/>
                </a:ln>
                <a:solidFill>
                  <a:srgbClr val="000000"/>
                </a:solidFill>
                <a:effectLst/>
                <a:uLnTx/>
                <a:uFillTx/>
                <a:latin typeface="Arial"/>
                <a:ea typeface="+mn-ea"/>
                <a:cs typeface="+mn-cs"/>
              </a:rPr>
              <a:t> or </a:t>
            </a:r>
            <a:r>
              <a:rPr kumimoji="0" lang="fr-CA" sz="1400" b="0" i="0" u="none" strike="noStrike" kern="1200" cap="none" spc="0" normalizeH="0" baseline="0" noProof="0" dirty="0" err="1">
                <a:ln>
                  <a:noFill/>
                </a:ln>
                <a:solidFill>
                  <a:srgbClr val="000000"/>
                </a:solidFill>
                <a:effectLst/>
                <a:uLnTx/>
                <a:uFillTx/>
                <a:latin typeface="Arial"/>
                <a:ea typeface="+mn-ea"/>
                <a:cs typeface="+mn-cs"/>
              </a:rPr>
              <a:t>remove</a:t>
            </a:r>
            <a:r>
              <a:rPr kumimoji="0" lang="fr-CA" sz="1400" b="0" i="0" u="none" strike="noStrike" kern="1200" cap="none" spc="0" normalizeH="0" baseline="0" noProof="0" dirty="0">
                <a:ln>
                  <a:noFill/>
                </a:ln>
                <a:solidFill>
                  <a:srgbClr val="000000"/>
                </a:solidFill>
                <a:effectLst/>
                <a:uLnTx/>
                <a:uFillTx/>
                <a:latin typeface="Arial"/>
                <a:ea typeface="+mn-ea"/>
                <a:cs typeface="+mn-cs"/>
              </a:rPr>
              <a:t> w/time</a:t>
            </a:r>
          </a:p>
        </p:txBody>
      </p:sp>
    </p:spTree>
    <p:extLst>
      <p:ext uri="{BB962C8B-B14F-4D97-AF65-F5344CB8AC3E}">
        <p14:creationId xmlns:p14="http://schemas.microsoft.com/office/powerpoint/2010/main" val="13925903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9816F-06BF-4E7D-B646-1B79FF1B9DE9}"/>
              </a:ext>
            </a:extLst>
          </p:cNvPr>
          <p:cNvSpPr>
            <a:spLocks noGrp="1"/>
          </p:cNvSpPr>
          <p:nvPr>
            <p:ph type="title"/>
          </p:nvPr>
        </p:nvSpPr>
        <p:spPr>
          <a:xfrm>
            <a:off x="245304" y="188640"/>
            <a:ext cx="11041821" cy="843880"/>
          </a:xfrm>
        </p:spPr>
        <p:txBody>
          <a:bodyPr anchor="ctr"/>
          <a:lstStyle/>
          <a:p>
            <a:pPr algn="l"/>
            <a:r>
              <a:rPr lang="en-US" sz="2800" b="0" dirty="0">
                <a:solidFill>
                  <a:srgbClr val="000000"/>
                </a:solidFill>
                <a:latin typeface="Avenir Next LT Pro Demi" panose="020B0704020202020204" pitchFamily="34" charset="0"/>
                <a:cs typeface="Arial" panose="020B0604020202020204" pitchFamily="34" charset="0"/>
              </a:rPr>
              <a:t>Utilization Opportunities for Workplace 2.0 Spaces</a:t>
            </a:r>
            <a:endParaRPr lang="en-CA" sz="2800" b="0" dirty="0">
              <a:latin typeface="Avenir Next LT Pro Demi" panose="020B0704020202020204" pitchFamily="34" charset="0"/>
            </a:endParaRPr>
          </a:p>
        </p:txBody>
      </p:sp>
      <p:sp>
        <p:nvSpPr>
          <p:cNvPr id="3" name="TextBox 2">
            <a:extLst>
              <a:ext uri="{FF2B5EF4-FFF2-40B4-BE49-F238E27FC236}">
                <a16:creationId xmlns:a16="http://schemas.microsoft.com/office/drawing/2014/main" id="{43BB42A1-CAB7-F3BE-E39A-4715561A6063}"/>
              </a:ext>
            </a:extLst>
          </p:cNvPr>
          <p:cNvSpPr txBox="1"/>
          <p:nvPr/>
        </p:nvSpPr>
        <p:spPr>
          <a:xfrm>
            <a:off x="0" y="1032520"/>
            <a:ext cx="3707285" cy="4682480"/>
          </a:xfrm>
          <a:prstGeom prst="rect">
            <a:avLst/>
          </a:prstGeom>
          <a:solidFill>
            <a:srgbClr val="FFFFFF"/>
          </a:solidFill>
          <a:ln>
            <a:noFill/>
          </a:ln>
        </p:spPr>
        <p:txBody>
          <a:bodyPr wrap="square" lIns="360000" tIns="252000" rIns="360000" bIns="252000" rtlCol="0" anchor="ctr" anchorCtr="0">
            <a:noAutofit/>
          </a:bodyPr>
          <a:lstStyle/>
          <a:p>
            <a:pPr marL="0" marR="0" lvl="0" indent="0" algn="l" defTabSz="914400" rtl="0" eaLnBrk="1" fontAlgn="auto" latinLnBrk="0" hangingPunct="1">
              <a:lnSpc>
                <a:spcPts val="3000"/>
              </a:lnSpc>
              <a:spcBef>
                <a:spcPts val="0"/>
              </a:spcBef>
              <a:spcAft>
                <a:spcPts val="0"/>
              </a:spcAft>
              <a:buClrTx/>
              <a:buSzTx/>
              <a:buFontTx/>
              <a:buNone/>
              <a:tabLst/>
              <a:defRPr/>
            </a:pPr>
            <a:r>
              <a:rPr kumimoji="0" lang="fr-CA" sz="18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rPr>
              <a:t>An office </a:t>
            </a:r>
            <a:r>
              <a:rPr kumimoji="0" lang="fr-CA" sz="1800" b="0" i="0" u="none" strike="noStrike" kern="1200" cap="none" spc="0" normalizeH="0" baseline="0" noProof="0" dirty="0" err="1">
                <a:ln>
                  <a:noFill/>
                </a:ln>
                <a:solidFill>
                  <a:srgbClr val="000000"/>
                </a:solidFill>
                <a:effectLst/>
                <a:uLnTx/>
                <a:uFillTx/>
                <a:latin typeface="Avenir Next LT Pro Demi" panose="020B0704020202020204" pitchFamily="34" charset="0"/>
                <a:ea typeface="+mn-ea"/>
                <a:cs typeface="+mn-cs"/>
              </a:rPr>
              <a:t>space</a:t>
            </a:r>
            <a:r>
              <a:rPr kumimoji="0" lang="fr-CA" sz="18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rPr>
              <a:t> </a:t>
            </a:r>
            <a:r>
              <a:rPr kumimoji="0" lang="fr-CA" sz="1800" b="0" i="0" u="none" strike="noStrike" kern="1200" cap="none" spc="0" normalizeH="0" baseline="0" noProof="0" dirty="0" err="1">
                <a:ln>
                  <a:noFill/>
                </a:ln>
                <a:solidFill>
                  <a:srgbClr val="000000"/>
                </a:solidFill>
                <a:effectLst/>
                <a:uLnTx/>
                <a:uFillTx/>
                <a:latin typeface="Avenir Next LT Pro Demi" panose="020B0704020202020204" pitchFamily="34" charset="0"/>
                <a:ea typeface="+mn-ea"/>
                <a:cs typeface="+mn-cs"/>
              </a:rPr>
              <a:t>designed</a:t>
            </a:r>
            <a:r>
              <a:rPr kumimoji="0" lang="fr-CA" sz="18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rPr>
              <a:t> to W</a:t>
            </a:r>
            <a:r>
              <a:rPr kumimoji="0" lang="en-CA" sz="1800" b="0" i="0" u="none" strike="noStrike" kern="1200" cap="none" spc="0" normalizeH="0" baseline="0" noProof="0" dirty="0" err="1">
                <a:ln>
                  <a:noFill/>
                </a:ln>
                <a:solidFill>
                  <a:srgbClr val="000000"/>
                </a:solidFill>
                <a:effectLst/>
                <a:uLnTx/>
                <a:uFillTx/>
                <a:latin typeface="Avenir Next LT Pro Demi" panose="020B0704020202020204" pitchFamily="34" charset="0"/>
                <a:ea typeface="+mn-ea"/>
                <a:cs typeface="+mn-cs"/>
              </a:rPr>
              <a:t>orkplace</a:t>
            </a:r>
            <a:r>
              <a:rPr kumimoji="0" lang="en-CA" sz="18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rPr>
              <a:t> 2.0 presents some opportunities to improve an unassigned user experience, such as dividing the existing space into acoustical zones. </a:t>
            </a:r>
          </a:p>
        </p:txBody>
      </p:sp>
      <p:sp>
        <p:nvSpPr>
          <p:cNvPr id="4" name="Rectangle 3">
            <a:extLst>
              <a:ext uri="{FF2B5EF4-FFF2-40B4-BE49-F238E27FC236}">
                <a16:creationId xmlns:a16="http://schemas.microsoft.com/office/drawing/2014/main" id="{829FD096-C4F1-D143-8CB2-D0F373530E9B}"/>
              </a:ext>
            </a:extLst>
          </p:cNvPr>
          <p:cNvSpPr/>
          <p:nvPr/>
        </p:nvSpPr>
        <p:spPr>
          <a:xfrm>
            <a:off x="3886201" y="1032519"/>
            <a:ext cx="8305800" cy="468247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srgbClr val="F1F2F2"/>
              </a:solidFill>
              <a:effectLst/>
              <a:uLnTx/>
              <a:uFillTx/>
              <a:latin typeface="Arial"/>
              <a:ea typeface="+mn-ea"/>
              <a:cs typeface="+mn-cs"/>
            </a:endParaRPr>
          </a:p>
        </p:txBody>
      </p:sp>
      <p:grpSp>
        <p:nvGrpSpPr>
          <p:cNvPr id="38" name="Group 37">
            <a:extLst>
              <a:ext uri="{FF2B5EF4-FFF2-40B4-BE49-F238E27FC236}">
                <a16:creationId xmlns:a16="http://schemas.microsoft.com/office/drawing/2014/main" id="{253B2F86-7439-20E1-4B78-E22864B52E0D}"/>
              </a:ext>
            </a:extLst>
          </p:cNvPr>
          <p:cNvGrpSpPr/>
          <p:nvPr/>
        </p:nvGrpSpPr>
        <p:grpSpPr>
          <a:xfrm>
            <a:off x="4333708" y="1736961"/>
            <a:ext cx="4165842" cy="3273593"/>
            <a:chOff x="5956180" y="1649638"/>
            <a:chExt cx="4165842" cy="3273593"/>
          </a:xfrm>
        </p:grpSpPr>
        <p:sp>
          <p:nvSpPr>
            <p:cNvPr id="28" name="Freeform: Shape 27">
              <a:extLst>
                <a:ext uri="{FF2B5EF4-FFF2-40B4-BE49-F238E27FC236}">
                  <a16:creationId xmlns:a16="http://schemas.microsoft.com/office/drawing/2014/main" id="{8F199395-7C0B-306D-32E8-A06366A2028B}"/>
                </a:ext>
              </a:extLst>
            </p:cNvPr>
            <p:cNvSpPr/>
            <p:nvPr/>
          </p:nvSpPr>
          <p:spPr>
            <a:xfrm>
              <a:off x="6026331" y="1706880"/>
              <a:ext cx="4014652" cy="8709"/>
            </a:xfrm>
            <a:custGeom>
              <a:avLst/>
              <a:gdLst>
                <a:gd name="connsiteX0" fmla="*/ 0 w 4014652"/>
                <a:gd name="connsiteY0" fmla="*/ 0 h 8709"/>
                <a:gd name="connsiteX1" fmla="*/ 4014652 w 4014652"/>
                <a:gd name="connsiteY1" fmla="*/ 8709 h 8709"/>
              </a:gdLst>
              <a:ahLst/>
              <a:cxnLst>
                <a:cxn ang="0">
                  <a:pos x="connsiteX0" y="connsiteY0"/>
                </a:cxn>
                <a:cxn ang="0">
                  <a:pos x="connsiteX1" y="connsiteY1"/>
                </a:cxn>
              </a:cxnLst>
              <a:rect l="l" t="t" r="r" b="b"/>
              <a:pathLst>
                <a:path w="4014652" h="8709">
                  <a:moveTo>
                    <a:pt x="0" y="0"/>
                  </a:moveTo>
                  <a:lnTo>
                    <a:pt x="4014652" y="8709"/>
                  </a:ln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29" name="Freeform: Shape 28">
              <a:extLst>
                <a:ext uri="{FF2B5EF4-FFF2-40B4-BE49-F238E27FC236}">
                  <a16:creationId xmlns:a16="http://schemas.microsoft.com/office/drawing/2014/main" id="{E304C7FD-3F2E-59D0-288B-3586FF2760EA}"/>
                </a:ext>
              </a:extLst>
            </p:cNvPr>
            <p:cNvSpPr/>
            <p:nvPr/>
          </p:nvSpPr>
          <p:spPr>
            <a:xfrm>
              <a:off x="6017623" y="1689463"/>
              <a:ext cx="2891246" cy="1053737"/>
            </a:xfrm>
            <a:custGeom>
              <a:avLst/>
              <a:gdLst>
                <a:gd name="connsiteX0" fmla="*/ 2865120 w 2891246"/>
                <a:gd name="connsiteY0" fmla="*/ 0 h 1053737"/>
                <a:gd name="connsiteX1" fmla="*/ 2891246 w 2891246"/>
                <a:gd name="connsiteY1" fmla="*/ 731520 h 1053737"/>
                <a:gd name="connsiteX2" fmla="*/ 2795451 w 2891246"/>
                <a:gd name="connsiteY2" fmla="*/ 731520 h 1053737"/>
                <a:gd name="connsiteX3" fmla="*/ 2804160 w 2891246"/>
                <a:gd name="connsiteY3" fmla="*/ 1053737 h 1053737"/>
                <a:gd name="connsiteX4" fmla="*/ 1219200 w 2891246"/>
                <a:gd name="connsiteY4" fmla="*/ 1045028 h 1053737"/>
                <a:gd name="connsiteX5" fmla="*/ 1210491 w 2891246"/>
                <a:gd name="connsiteY5" fmla="*/ 757646 h 1053737"/>
                <a:gd name="connsiteX6" fmla="*/ 17417 w 2891246"/>
                <a:gd name="connsiteY6" fmla="*/ 757646 h 1053737"/>
                <a:gd name="connsiteX7" fmla="*/ 0 w 2891246"/>
                <a:gd name="connsiteY7" fmla="*/ 8708 h 1053737"/>
                <a:gd name="connsiteX8" fmla="*/ 2865120 w 2891246"/>
                <a:gd name="connsiteY8" fmla="*/ 0 h 1053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91246" h="1053737">
                  <a:moveTo>
                    <a:pt x="2865120" y="0"/>
                  </a:moveTo>
                  <a:lnTo>
                    <a:pt x="2891246" y="731520"/>
                  </a:lnTo>
                  <a:lnTo>
                    <a:pt x="2795451" y="731520"/>
                  </a:lnTo>
                  <a:lnTo>
                    <a:pt x="2804160" y="1053737"/>
                  </a:lnTo>
                  <a:lnTo>
                    <a:pt x="1219200" y="1045028"/>
                  </a:lnTo>
                  <a:lnTo>
                    <a:pt x="1210491" y="757646"/>
                  </a:lnTo>
                  <a:lnTo>
                    <a:pt x="17417" y="757646"/>
                  </a:lnTo>
                  <a:lnTo>
                    <a:pt x="0" y="8708"/>
                  </a:lnTo>
                  <a:lnTo>
                    <a:pt x="2865120" y="0"/>
                  </a:lnTo>
                  <a:close/>
                </a:path>
              </a:pathLst>
            </a:custGeom>
            <a:solidFill>
              <a:srgbClr val="F3E4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32" name="Freeform: Shape 31">
              <a:extLst>
                <a:ext uri="{FF2B5EF4-FFF2-40B4-BE49-F238E27FC236}">
                  <a16:creationId xmlns:a16="http://schemas.microsoft.com/office/drawing/2014/main" id="{8A2894BE-A99C-8D18-44F0-B71819D1A9D2}"/>
                </a:ext>
              </a:extLst>
            </p:cNvPr>
            <p:cNvSpPr/>
            <p:nvPr/>
          </p:nvSpPr>
          <p:spPr>
            <a:xfrm>
              <a:off x="6008914" y="1689463"/>
              <a:ext cx="4040777" cy="3169920"/>
            </a:xfrm>
            <a:custGeom>
              <a:avLst/>
              <a:gdLst>
                <a:gd name="connsiteX0" fmla="*/ 2882537 w 4040777"/>
                <a:gd name="connsiteY0" fmla="*/ 3169920 h 3169920"/>
                <a:gd name="connsiteX1" fmla="*/ 2899955 w 4040777"/>
                <a:gd name="connsiteY1" fmla="*/ 2577737 h 3169920"/>
                <a:gd name="connsiteX2" fmla="*/ 3300549 w 4040777"/>
                <a:gd name="connsiteY2" fmla="*/ 2551611 h 3169920"/>
                <a:gd name="connsiteX3" fmla="*/ 3300549 w 4040777"/>
                <a:gd name="connsiteY3" fmla="*/ 748937 h 3169920"/>
                <a:gd name="connsiteX4" fmla="*/ 4023360 w 4040777"/>
                <a:gd name="connsiteY4" fmla="*/ 748937 h 3169920"/>
                <a:gd name="connsiteX5" fmla="*/ 4040777 w 4040777"/>
                <a:gd name="connsiteY5" fmla="*/ 8708 h 3169920"/>
                <a:gd name="connsiteX6" fmla="*/ 2882537 w 4040777"/>
                <a:gd name="connsiteY6" fmla="*/ 0 h 3169920"/>
                <a:gd name="connsiteX7" fmla="*/ 2899955 w 4040777"/>
                <a:gd name="connsiteY7" fmla="*/ 748937 h 3169920"/>
                <a:gd name="connsiteX8" fmla="*/ 2821577 w 4040777"/>
                <a:gd name="connsiteY8" fmla="*/ 740228 h 3169920"/>
                <a:gd name="connsiteX9" fmla="*/ 2812869 w 4040777"/>
                <a:gd name="connsiteY9" fmla="*/ 2124891 h 3169920"/>
                <a:gd name="connsiteX10" fmla="*/ 1227909 w 4040777"/>
                <a:gd name="connsiteY10" fmla="*/ 2098766 h 3169920"/>
                <a:gd name="connsiteX11" fmla="*/ 1219200 w 4040777"/>
                <a:gd name="connsiteY11" fmla="*/ 748937 h 3169920"/>
                <a:gd name="connsiteX12" fmla="*/ 0 w 4040777"/>
                <a:gd name="connsiteY12" fmla="*/ 757646 h 3169920"/>
                <a:gd name="connsiteX13" fmla="*/ 0 w 4040777"/>
                <a:gd name="connsiteY13" fmla="*/ 3152503 h 3169920"/>
                <a:gd name="connsiteX14" fmla="*/ 2882537 w 4040777"/>
                <a:gd name="connsiteY14" fmla="*/ 3169920 h 3169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40777" h="3169920">
                  <a:moveTo>
                    <a:pt x="2882537" y="3169920"/>
                  </a:moveTo>
                  <a:lnTo>
                    <a:pt x="2899955" y="2577737"/>
                  </a:lnTo>
                  <a:lnTo>
                    <a:pt x="3300549" y="2551611"/>
                  </a:lnTo>
                  <a:lnTo>
                    <a:pt x="3300549" y="748937"/>
                  </a:lnTo>
                  <a:lnTo>
                    <a:pt x="4023360" y="748937"/>
                  </a:lnTo>
                  <a:lnTo>
                    <a:pt x="4040777" y="8708"/>
                  </a:lnTo>
                  <a:lnTo>
                    <a:pt x="2882537" y="0"/>
                  </a:lnTo>
                  <a:lnTo>
                    <a:pt x="2899955" y="748937"/>
                  </a:lnTo>
                  <a:lnTo>
                    <a:pt x="2821577" y="740228"/>
                  </a:lnTo>
                  <a:cubicBezTo>
                    <a:pt x="2818674" y="1201782"/>
                    <a:pt x="2815772" y="1663337"/>
                    <a:pt x="2812869" y="2124891"/>
                  </a:cubicBezTo>
                  <a:lnTo>
                    <a:pt x="1227909" y="2098766"/>
                  </a:lnTo>
                  <a:lnTo>
                    <a:pt x="1219200" y="748937"/>
                  </a:lnTo>
                  <a:lnTo>
                    <a:pt x="0" y="757646"/>
                  </a:lnTo>
                  <a:lnTo>
                    <a:pt x="0" y="3152503"/>
                  </a:lnTo>
                  <a:lnTo>
                    <a:pt x="2882537" y="3169920"/>
                  </a:lnTo>
                  <a:close/>
                </a:path>
              </a:pathLst>
            </a:custGeom>
            <a:solidFill>
              <a:srgbClr val="FEF6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33" name="Freeform: Shape 32">
              <a:extLst>
                <a:ext uri="{FF2B5EF4-FFF2-40B4-BE49-F238E27FC236}">
                  <a16:creationId xmlns:a16="http://schemas.microsoft.com/office/drawing/2014/main" id="{E211FC3C-CC01-F87B-9386-2FD535E9D2BD}"/>
                </a:ext>
              </a:extLst>
            </p:cNvPr>
            <p:cNvSpPr/>
            <p:nvPr/>
          </p:nvSpPr>
          <p:spPr>
            <a:xfrm>
              <a:off x="8908869" y="2429691"/>
              <a:ext cx="1140822" cy="2438400"/>
            </a:xfrm>
            <a:custGeom>
              <a:avLst/>
              <a:gdLst>
                <a:gd name="connsiteX0" fmla="*/ 409302 w 1140822"/>
                <a:gd name="connsiteY0" fmla="*/ 0 h 2438400"/>
                <a:gd name="connsiteX1" fmla="*/ 1132114 w 1140822"/>
                <a:gd name="connsiteY1" fmla="*/ 26126 h 2438400"/>
                <a:gd name="connsiteX2" fmla="*/ 1140822 w 1140822"/>
                <a:gd name="connsiteY2" fmla="*/ 2438400 h 2438400"/>
                <a:gd name="connsiteX3" fmla="*/ 0 w 1140822"/>
                <a:gd name="connsiteY3" fmla="*/ 2429692 h 2438400"/>
                <a:gd name="connsiteX4" fmla="*/ 0 w 1140822"/>
                <a:gd name="connsiteY4" fmla="*/ 1846218 h 2438400"/>
                <a:gd name="connsiteX5" fmla="*/ 391885 w 1140822"/>
                <a:gd name="connsiteY5" fmla="*/ 1820092 h 2438400"/>
                <a:gd name="connsiteX6" fmla="*/ 409302 w 1140822"/>
                <a:gd name="connsiteY6" fmla="*/ 0 h 243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0822" h="2438400">
                  <a:moveTo>
                    <a:pt x="409302" y="0"/>
                  </a:moveTo>
                  <a:lnTo>
                    <a:pt x="1132114" y="26126"/>
                  </a:lnTo>
                  <a:cubicBezTo>
                    <a:pt x="1135017" y="830217"/>
                    <a:pt x="1137919" y="1634309"/>
                    <a:pt x="1140822" y="2438400"/>
                  </a:cubicBezTo>
                  <a:lnTo>
                    <a:pt x="0" y="2429692"/>
                  </a:lnTo>
                  <a:lnTo>
                    <a:pt x="0" y="1846218"/>
                  </a:lnTo>
                  <a:lnTo>
                    <a:pt x="391885" y="1820092"/>
                  </a:lnTo>
                  <a:lnTo>
                    <a:pt x="409302" y="0"/>
                  </a:lnTo>
                  <a:close/>
                </a:path>
              </a:pathLst>
            </a:custGeom>
            <a:solidFill>
              <a:srgbClr val="E4F0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37" name="Rectangle 36">
              <a:extLst>
                <a:ext uri="{FF2B5EF4-FFF2-40B4-BE49-F238E27FC236}">
                  <a16:creationId xmlns:a16="http://schemas.microsoft.com/office/drawing/2014/main" id="{D681B211-5546-8E88-6118-638DEAEE0C83}"/>
                </a:ext>
              </a:extLst>
            </p:cNvPr>
            <p:cNvSpPr/>
            <p:nvPr/>
          </p:nvSpPr>
          <p:spPr>
            <a:xfrm>
              <a:off x="7228114" y="2743200"/>
              <a:ext cx="1608424" cy="1045029"/>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pic>
          <p:nvPicPr>
            <p:cNvPr id="27" name="Picture 2" descr="Workplace 2.0 Furniture Plan - Metcalfe Realty Company Limited">
              <a:extLst>
                <a:ext uri="{FF2B5EF4-FFF2-40B4-BE49-F238E27FC236}">
                  <a16:creationId xmlns:a16="http://schemas.microsoft.com/office/drawing/2014/main" id="{9588F82A-A484-0DA4-415C-03B93D0840C2}"/>
                </a:ext>
              </a:extLst>
            </p:cNvPr>
            <p:cNvPicPr>
              <a:picLocks noChangeAspect="1" noChangeArrowheads="1"/>
            </p:cNvPicPr>
            <p:nvPr/>
          </p:nvPicPr>
          <p:blipFill rotWithShape="1">
            <a:blip r:embed="rId2">
              <a:clrChange>
                <a:clrFrom>
                  <a:srgbClr val="FEF9F3"/>
                </a:clrFrom>
                <a:clrTo>
                  <a:srgbClr val="FEF9F3">
                    <a:alpha val="0"/>
                  </a:srgbClr>
                </a:clrTo>
              </a:clrChange>
              <a:extLst>
                <a:ext uri="{28A0092B-C50C-407E-A947-70E740481C1C}">
                  <a14:useLocalDpi xmlns:a14="http://schemas.microsoft.com/office/drawing/2010/main" val="0"/>
                </a:ext>
              </a:extLst>
            </a:blip>
            <a:srcRect l="9354" t="7361" r="9000" b="17222"/>
            <a:stretch/>
          </p:blipFill>
          <p:spPr bwMode="auto">
            <a:xfrm>
              <a:off x="5956180" y="1649638"/>
              <a:ext cx="4165842" cy="3273593"/>
            </a:xfrm>
            <a:prstGeom prst="rect">
              <a:avLst/>
            </a:prstGeom>
            <a:noFill/>
            <a:extLst>
              <a:ext uri="{909E8E84-426E-40DD-AFC4-6F175D3DCCD1}">
                <a14:hiddenFill xmlns:a14="http://schemas.microsoft.com/office/drawing/2010/main">
                  <a:solidFill>
                    <a:srgbClr val="FFFFFF"/>
                  </a:solidFill>
                </a14:hiddenFill>
              </a:ext>
            </a:extLst>
          </p:spPr>
        </p:pic>
      </p:grpSp>
      <p:sp>
        <p:nvSpPr>
          <p:cNvPr id="42" name="TextBox 41">
            <a:extLst>
              <a:ext uri="{FF2B5EF4-FFF2-40B4-BE49-F238E27FC236}">
                <a16:creationId xmlns:a16="http://schemas.microsoft.com/office/drawing/2014/main" id="{B8AD7BC7-CE80-B63F-9D4E-9E705827D291}"/>
              </a:ext>
            </a:extLst>
          </p:cNvPr>
          <p:cNvSpPr txBox="1"/>
          <p:nvPr/>
        </p:nvSpPr>
        <p:spPr>
          <a:xfrm>
            <a:off x="5118230" y="1504171"/>
            <a:ext cx="1848635"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0" i="0" u="none" strike="noStrike" kern="1200" cap="none" spc="0" normalizeH="0" baseline="0" noProof="0" dirty="0">
                <a:ln>
                  <a:noFill/>
                </a:ln>
                <a:solidFill>
                  <a:srgbClr val="A2322B"/>
                </a:solidFill>
                <a:effectLst/>
                <a:uLnTx/>
                <a:uFillTx/>
                <a:latin typeface="Avenir Next LT Pro Demi" panose="020B0704020202020204" pitchFamily="34" charset="0"/>
                <a:ea typeface="+mn-ea"/>
                <a:cs typeface="+mn-cs"/>
              </a:rPr>
              <a:t>Interactive Zone</a:t>
            </a:r>
            <a:endParaRPr kumimoji="0" lang="en-CA" sz="1400" b="0" i="0" u="none" strike="noStrike" kern="1200" cap="none" spc="0" normalizeH="0" baseline="0" noProof="0" dirty="0">
              <a:ln>
                <a:noFill/>
              </a:ln>
              <a:solidFill>
                <a:srgbClr val="A2322B"/>
              </a:solidFill>
              <a:effectLst/>
              <a:uLnTx/>
              <a:uFillTx/>
              <a:latin typeface="Avenir Next LT Pro Demi" panose="020B0704020202020204" pitchFamily="34" charset="0"/>
              <a:ea typeface="+mn-ea"/>
              <a:cs typeface="+mn-cs"/>
            </a:endParaRPr>
          </a:p>
        </p:txBody>
      </p:sp>
      <p:sp>
        <p:nvSpPr>
          <p:cNvPr id="43" name="TextBox 42">
            <a:extLst>
              <a:ext uri="{FF2B5EF4-FFF2-40B4-BE49-F238E27FC236}">
                <a16:creationId xmlns:a16="http://schemas.microsoft.com/office/drawing/2014/main" id="{5730D7B5-7235-B5F4-FEA3-AA07A233C6FE}"/>
              </a:ext>
            </a:extLst>
          </p:cNvPr>
          <p:cNvSpPr txBox="1"/>
          <p:nvPr/>
        </p:nvSpPr>
        <p:spPr>
          <a:xfrm>
            <a:off x="5113224" y="4940820"/>
            <a:ext cx="2173173"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0" i="0" u="none" strike="noStrike" kern="1200" cap="none" spc="0" normalizeH="0" baseline="0" noProof="0" dirty="0">
                <a:ln>
                  <a:noFill/>
                </a:ln>
                <a:solidFill>
                  <a:srgbClr val="FAA41A"/>
                </a:solidFill>
                <a:effectLst/>
                <a:uLnTx/>
                <a:uFillTx/>
                <a:latin typeface="Avenir Next LT Pro Demi" panose="020B0704020202020204" pitchFamily="34" charset="0"/>
                <a:ea typeface="+mn-ea"/>
                <a:cs typeface="+mn-cs"/>
              </a:rPr>
              <a:t>Transitional Zone</a:t>
            </a:r>
            <a:endParaRPr kumimoji="0" lang="en-CA" sz="1400" b="0" i="0" u="none" strike="noStrike" kern="1200" cap="none" spc="0" normalizeH="0" baseline="0" noProof="0" dirty="0">
              <a:ln>
                <a:noFill/>
              </a:ln>
              <a:solidFill>
                <a:srgbClr val="FAA41A"/>
              </a:solidFill>
              <a:effectLst/>
              <a:uLnTx/>
              <a:uFillTx/>
              <a:latin typeface="Avenir Next LT Pro Demi" panose="020B0704020202020204" pitchFamily="34" charset="0"/>
              <a:ea typeface="+mn-ea"/>
              <a:cs typeface="+mn-cs"/>
            </a:endParaRPr>
          </a:p>
        </p:txBody>
      </p:sp>
      <p:sp>
        <p:nvSpPr>
          <p:cNvPr id="44" name="TextBox 43">
            <a:extLst>
              <a:ext uri="{FF2B5EF4-FFF2-40B4-BE49-F238E27FC236}">
                <a16:creationId xmlns:a16="http://schemas.microsoft.com/office/drawing/2014/main" id="{AD1C162E-5C56-00A2-B025-22B8A35452D0}"/>
              </a:ext>
            </a:extLst>
          </p:cNvPr>
          <p:cNvSpPr txBox="1"/>
          <p:nvPr/>
        </p:nvSpPr>
        <p:spPr>
          <a:xfrm rot="16200000">
            <a:off x="7759347" y="3275111"/>
            <a:ext cx="1660939"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0" i="0" u="none" strike="noStrike" kern="1200" cap="none" spc="0" normalizeH="0" baseline="0" noProof="0" dirty="0">
                <a:ln>
                  <a:noFill/>
                </a:ln>
                <a:solidFill>
                  <a:srgbClr val="409786"/>
                </a:solidFill>
                <a:effectLst/>
                <a:uLnTx/>
                <a:uFillTx/>
                <a:latin typeface="Avenir Next LT Pro Demi" panose="020B0704020202020204" pitchFamily="34" charset="0"/>
                <a:ea typeface="+mn-ea"/>
                <a:cs typeface="+mn-cs"/>
              </a:rPr>
              <a:t>Quiet Zone</a:t>
            </a:r>
            <a:endParaRPr kumimoji="0" lang="en-CA" sz="1400" b="0" i="0" u="none" strike="noStrike" kern="1200" cap="none" spc="0" normalizeH="0" baseline="0" noProof="0" dirty="0">
              <a:ln>
                <a:noFill/>
              </a:ln>
              <a:solidFill>
                <a:srgbClr val="409786"/>
              </a:solidFill>
              <a:effectLst/>
              <a:uLnTx/>
              <a:uFillTx/>
              <a:latin typeface="Avenir Next LT Pro Demi" panose="020B0704020202020204" pitchFamily="34" charset="0"/>
              <a:ea typeface="+mn-ea"/>
              <a:cs typeface="+mn-cs"/>
            </a:endParaRPr>
          </a:p>
        </p:txBody>
      </p:sp>
      <p:sp>
        <p:nvSpPr>
          <p:cNvPr id="46" name="TextBox 45">
            <a:extLst>
              <a:ext uri="{FF2B5EF4-FFF2-40B4-BE49-F238E27FC236}">
                <a16:creationId xmlns:a16="http://schemas.microsoft.com/office/drawing/2014/main" id="{029F0635-92B3-6B06-E8B4-B1C334E96B21}"/>
              </a:ext>
            </a:extLst>
          </p:cNvPr>
          <p:cNvSpPr txBox="1"/>
          <p:nvPr/>
        </p:nvSpPr>
        <p:spPr>
          <a:xfrm>
            <a:off x="8967260" y="1794204"/>
            <a:ext cx="2649974" cy="3146616"/>
          </a:xfrm>
          <a:prstGeom prst="rect">
            <a:avLst/>
          </a:prstGeom>
          <a:noFill/>
          <a:ln>
            <a:solidFill>
              <a:schemeClr val="bg2">
                <a:lumMod val="75000"/>
              </a:schemeClr>
            </a:solidFill>
          </a:ln>
        </p:spPr>
        <p:txBody>
          <a:bodyPr wrap="square" lIns="25200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6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rPr>
              <a:t>IF POSSIBL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CA" sz="8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dirty="0">
                <a:ln>
                  <a:noFill/>
                </a:ln>
                <a:solidFill>
                  <a:srgbClr val="000000"/>
                </a:solidFill>
                <a:effectLst/>
                <a:uLnTx/>
                <a:uFillTx/>
                <a:latin typeface="Avenir Next LT Pro Light" panose="020B0304020202020204" pitchFamily="34" charset="0"/>
                <a:ea typeface="+mn-ea"/>
                <a:cs typeface="+mn-cs"/>
              </a:rPr>
              <a:t>- remove &amp; centralize personal storage from workstations/offi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800" b="0" i="0" u="none" strike="noStrike" kern="1200" cap="none" spc="0" normalizeH="0" baseline="0" noProof="0" dirty="0">
              <a:ln>
                <a:noFill/>
              </a:ln>
              <a:solidFill>
                <a:srgbClr val="000000"/>
              </a:solidFill>
              <a:effectLst/>
              <a:uLnTx/>
              <a:uFillTx/>
              <a:latin typeface="Avenir Next LT Pro Light" panose="020B03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dirty="0">
                <a:ln>
                  <a:noFill/>
                </a:ln>
                <a:solidFill>
                  <a:srgbClr val="000000"/>
                </a:solidFill>
                <a:effectLst/>
                <a:uLnTx/>
                <a:uFillTx/>
                <a:latin typeface="Avenir Next LT Pro Light" panose="020B0304020202020204" pitchFamily="34" charset="0"/>
                <a:ea typeface="+mn-ea"/>
                <a:cs typeface="+mn-cs"/>
              </a:rPr>
              <a:t>- relocating any existing collab furniture to the newly identified interactive zone</a:t>
            </a:r>
          </a:p>
        </p:txBody>
      </p:sp>
    </p:spTree>
    <p:extLst>
      <p:ext uri="{BB962C8B-B14F-4D97-AF65-F5344CB8AC3E}">
        <p14:creationId xmlns:p14="http://schemas.microsoft.com/office/powerpoint/2010/main" val="25848197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9816F-06BF-4E7D-B646-1B79FF1B9DE9}"/>
              </a:ext>
            </a:extLst>
          </p:cNvPr>
          <p:cNvSpPr>
            <a:spLocks noGrp="1"/>
          </p:cNvSpPr>
          <p:nvPr>
            <p:ph type="title"/>
          </p:nvPr>
        </p:nvSpPr>
        <p:spPr>
          <a:xfrm>
            <a:off x="245304" y="188640"/>
            <a:ext cx="11041821" cy="843880"/>
          </a:xfrm>
        </p:spPr>
        <p:txBody>
          <a:bodyPr anchor="ctr"/>
          <a:lstStyle/>
          <a:p>
            <a:pPr algn="l"/>
            <a:r>
              <a:rPr lang="en-US" sz="2800" b="0" dirty="0">
                <a:solidFill>
                  <a:srgbClr val="000000"/>
                </a:solidFill>
                <a:latin typeface="Avenir Next LT Pro Demi" panose="020B0704020202020204" pitchFamily="34" charset="0"/>
                <a:cs typeface="Arial" panose="020B0604020202020204" pitchFamily="34" charset="0"/>
              </a:rPr>
              <a:t>Space Booking Considerations for Workplace 2.0</a:t>
            </a:r>
            <a:endParaRPr lang="en-CA" sz="2800" b="0" dirty="0">
              <a:latin typeface="Avenir Next LT Pro Demi" panose="020B0704020202020204" pitchFamily="34" charset="0"/>
            </a:endParaRPr>
          </a:p>
        </p:txBody>
      </p:sp>
      <p:sp>
        <p:nvSpPr>
          <p:cNvPr id="3" name="TextBox 2">
            <a:extLst>
              <a:ext uri="{FF2B5EF4-FFF2-40B4-BE49-F238E27FC236}">
                <a16:creationId xmlns:a16="http://schemas.microsoft.com/office/drawing/2014/main" id="{43BB42A1-CAB7-F3BE-E39A-4715561A6063}"/>
              </a:ext>
            </a:extLst>
          </p:cNvPr>
          <p:cNvSpPr txBox="1"/>
          <p:nvPr/>
        </p:nvSpPr>
        <p:spPr>
          <a:xfrm>
            <a:off x="0" y="1032520"/>
            <a:ext cx="3707285" cy="4682480"/>
          </a:xfrm>
          <a:prstGeom prst="rect">
            <a:avLst/>
          </a:prstGeom>
          <a:solidFill>
            <a:srgbClr val="FFFFFF"/>
          </a:solidFill>
          <a:ln>
            <a:noFill/>
          </a:ln>
        </p:spPr>
        <p:txBody>
          <a:bodyPr wrap="square" lIns="360000" tIns="252000" rIns="360000" bIns="252000" rtlCol="0" anchor="ctr" anchorCtr="0">
            <a:noAutofit/>
          </a:bodyPr>
          <a:lstStyle/>
          <a:p>
            <a:pPr marL="0" marR="0" lvl="0" indent="0" algn="l" defTabSz="914400" rtl="0" eaLnBrk="1" fontAlgn="auto" latinLnBrk="0" hangingPunct="1">
              <a:lnSpc>
                <a:spcPts val="3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rPr>
              <a:t>Because Workplace 2.0 space does not offer as much workpoint variety compared to GCworkplace, different space booking solutions can enhance the user experience by providing its users with options: </a:t>
            </a:r>
          </a:p>
        </p:txBody>
      </p:sp>
      <p:sp>
        <p:nvSpPr>
          <p:cNvPr id="4" name="Rectangle 3">
            <a:extLst>
              <a:ext uri="{FF2B5EF4-FFF2-40B4-BE49-F238E27FC236}">
                <a16:creationId xmlns:a16="http://schemas.microsoft.com/office/drawing/2014/main" id="{829FD096-C4F1-D143-8CB2-D0F373530E9B}"/>
              </a:ext>
            </a:extLst>
          </p:cNvPr>
          <p:cNvSpPr/>
          <p:nvPr/>
        </p:nvSpPr>
        <p:spPr>
          <a:xfrm>
            <a:off x="3886201" y="1032519"/>
            <a:ext cx="8305800" cy="468247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srgbClr val="F1F2F2"/>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A78C4C31-5A82-9C86-B3A5-CC4548C58C0B}"/>
              </a:ext>
            </a:extLst>
          </p:cNvPr>
          <p:cNvSpPr/>
          <p:nvPr/>
        </p:nvSpPr>
        <p:spPr>
          <a:xfrm>
            <a:off x="4563291" y="1794204"/>
            <a:ext cx="4014652" cy="3139196"/>
          </a:xfrm>
          <a:prstGeom prst="rect">
            <a:avLst/>
          </a:prstGeom>
          <a:solidFill>
            <a:srgbClr val="D6E7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10" name="Rectangle 9">
            <a:extLst>
              <a:ext uri="{FF2B5EF4-FFF2-40B4-BE49-F238E27FC236}">
                <a16:creationId xmlns:a16="http://schemas.microsoft.com/office/drawing/2014/main" id="{9DC7737D-E848-1F97-8E03-35BF5B25FBAB}"/>
              </a:ext>
            </a:extLst>
          </p:cNvPr>
          <p:cNvSpPr/>
          <p:nvPr/>
        </p:nvSpPr>
        <p:spPr>
          <a:xfrm>
            <a:off x="6548846" y="4476205"/>
            <a:ext cx="888274" cy="457195"/>
          </a:xfrm>
          <a:prstGeom prst="rect">
            <a:avLst/>
          </a:prstGeom>
          <a:solidFill>
            <a:srgbClr val="89D3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7" name="Rectangle 6">
            <a:extLst>
              <a:ext uri="{FF2B5EF4-FFF2-40B4-BE49-F238E27FC236}">
                <a16:creationId xmlns:a16="http://schemas.microsoft.com/office/drawing/2014/main" id="{C0E1169D-3E5C-DBAF-0513-D20DED5365F7}"/>
              </a:ext>
            </a:extLst>
          </p:cNvPr>
          <p:cNvSpPr/>
          <p:nvPr/>
        </p:nvSpPr>
        <p:spPr>
          <a:xfrm>
            <a:off x="9129081" y="1643910"/>
            <a:ext cx="2360023" cy="1001817"/>
          </a:xfrm>
          <a:prstGeom prst="rect">
            <a:avLst/>
          </a:prstGeom>
          <a:solidFill>
            <a:srgbClr val="D6E7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000000"/>
                </a:solidFill>
                <a:effectLst/>
                <a:uLnTx/>
                <a:uFillTx/>
                <a:latin typeface="Arial"/>
                <a:ea typeface="+mn-ea"/>
                <a:cs typeface="+mn-cs"/>
              </a:rPr>
              <a:t>General Admiss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Use </a:t>
            </a:r>
            <a:r>
              <a:rPr kumimoji="0" lang="fr-CA" sz="1400" b="0" i="0" u="none" strike="noStrike" kern="1200" cap="none" spc="0" normalizeH="0" baseline="0" noProof="0" dirty="0" err="1">
                <a:ln>
                  <a:noFill/>
                </a:ln>
                <a:solidFill>
                  <a:srgbClr val="000000"/>
                </a:solidFill>
                <a:effectLst/>
                <a:uLnTx/>
                <a:uFillTx/>
                <a:latin typeface="Arial"/>
                <a:ea typeface="+mn-ea"/>
                <a:cs typeface="+mn-cs"/>
              </a:rPr>
              <a:t>what</a:t>
            </a:r>
            <a:r>
              <a:rPr kumimoji="0" lang="fr-CA" sz="1400" b="0" i="0" u="none" strike="noStrike" kern="1200" cap="none" spc="0" normalizeH="0" baseline="0" noProof="0" dirty="0">
                <a:ln>
                  <a:noFill/>
                </a:ln>
                <a:solidFill>
                  <a:srgbClr val="000000"/>
                </a:solidFill>
                <a:effectLst/>
                <a:uLnTx/>
                <a:uFillTx/>
                <a:latin typeface="Arial"/>
                <a:ea typeface="+mn-ea"/>
                <a:cs typeface="+mn-cs"/>
              </a:rPr>
              <a:t> </a:t>
            </a:r>
            <a:r>
              <a:rPr kumimoji="0" lang="fr-CA" sz="1400" b="0" i="0" u="none" strike="noStrike" kern="1200" cap="none" spc="0" normalizeH="0" baseline="0" noProof="0" dirty="0" err="1">
                <a:ln>
                  <a:noFill/>
                </a:ln>
                <a:solidFill>
                  <a:srgbClr val="000000"/>
                </a:solidFill>
                <a:effectLst/>
                <a:uLnTx/>
                <a:uFillTx/>
                <a:latin typeface="Arial"/>
                <a:ea typeface="+mn-ea"/>
                <a:cs typeface="+mn-cs"/>
              </a:rPr>
              <a:t>you</a:t>
            </a:r>
            <a:r>
              <a:rPr kumimoji="0" lang="fr-CA" sz="1400" b="0" i="0" u="none" strike="noStrike" kern="1200" cap="none" spc="0" normalizeH="0" baseline="0" noProof="0" dirty="0">
                <a:ln>
                  <a:noFill/>
                </a:ln>
                <a:solidFill>
                  <a:srgbClr val="000000"/>
                </a:solidFill>
                <a:effectLst/>
                <a:uLnTx/>
                <a:uFillTx/>
                <a:latin typeface="Arial"/>
                <a:ea typeface="+mn-ea"/>
                <a:cs typeface="+mn-cs"/>
              </a:rPr>
              <a:t> </a:t>
            </a:r>
            <a:r>
              <a:rPr kumimoji="0" lang="fr-CA" sz="1400" b="0" i="0" u="none" strike="noStrike" kern="1200" cap="none" spc="0" normalizeH="0" baseline="0" noProof="0" dirty="0" err="1">
                <a:ln>
                  <a:noFill/>
                </a:ln>
                <a:solidFill>
                  <a:srgbClr val="000000"/>
                </a:solidFill>
                <a:effectLst/>
                <a:uLnTx/>
                <a:uFillTx/>
                <a:latin typeface="Arial"/>
                <a:ea typeface="+mn-ea"/>
                <a:cs typeface="+mn-cs"/>
              </a:rPr>
              <a:t>see</a:t>
            </a:r>
            <a:r>
              <a:rPr kumimoji="0" lang="fr-CA" sz="1400" b="0" i="0" u="none" strike="noStrike" kern="1200" cap="none" spc="0" normalizeH="0" baseline="0" noProof="0" dirty="0">
                <a:ln>
                  <a:noFill/>
                </a:ln>
                <a:solidFill>
                  <a:srgbClr val="000000"/>
                </a:solidFill>
                <a:effectLst/>
                <a:uLnTx/>
                <a:uFillTx/>
                <a:latin typeface="Arial"/>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Manage </a:t>
            </a:r>
            <a:r>
              <a:rPr kumimoji="0" lang="fr-CA" sz="1400" b="0" i="0" u="none" strike="noStrike" kern="1200" cap="none" spc="0" normalizeH="0" baseline="0" noProof="0" dirty="0" err="1">
                <a:ln>
                  <a:noFill/>
                </a:ln>
                <a:solidFill>
                  <a:srgbClr val="000000"/>
                </a:solidFill>
                <a:effectLst/>
                <a:uLnTx/>
                <a:uFillTx/>
                <a:latin typeface="Arial"/>
                <a:ea typeface="+mn-ea"/>
                <a:cs typeface="+mn-cs"/>
              </a:rPr>
              <a:t>occupancy</a:t>
            </a:r>
            <a:endParaRPr kumimoji="0" lang="fr-CA"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34DAC99F-201C-2D10-6C05-E2C92C328866}"/>
              </a:ext>
            </a:extLst>
          </p:cNvPr>
          <p:cNvSpPr/>
          <p:nvPr/>
        </p:nvSpPr>
        <p:spPr>
          <a:xfrm>
            <a:off x="6599245" y="2413172"/>
            <a:ext cx="559201" cy="391224"/>
          </a:xfrm>
          <a:prstGeom prst="rect">
            <a:avLst/>
          </a:prstGeom>
          <a:solidFill>
            <a:srgbClr val="89D3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25E5C8E3-2C7F-302F-2B47-F4CA79CB8B7B}"/>
              </a:ext>
            </a:extLst>
          </p:cNvPr>
          <p:cNvSpPr/>
          <p:nvPr/>
        </p:nvSpPr>
        <p:spPr>
          <a:xfrm>
            <a:off x="7437120" y="3856217"/>
            <a:ext cx="394894" cy="477757"/>
          </a:xfrm>
          <a:prstGeom prst="rect">
            <a:avLst/>
          </a:prstGeom>
          <a:solidFill>
            <a:srgbClr val="89D3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5DA6F767-D692-31E6-4530-3363B7CEB8CC}"/>
              </a:ext>
            </a:extLst>
          </p:cNvPr>
          <p:cNvSpPr/>
          <p:nvPr/>
        </p:nvSpPr>
        <p:spPr>
          <a:xfrm>
            <a:off x="5765073" y="3875554"/>
            <a:ext cx="444137" cy="469048"/>
          </a:xfrm>
          <a:prstGeom prst="rect">
            <a:avLst/>
          </a:prstGeom>
          <a:solidFill>
            <a:srgbClr val="89D3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BEBD4B58-A052-14AA-8E54-6FB81C89A92F}"/>
              </a:ext>
            </a:extLst>
          </p:cNvPr>
          <p:cNvSpPr/>
          <p:nvPr/>
        </p:nvSpPr>
        <p:spPr>
          <a:xfrm>
            <a:off x="4563291" y="1794204"/>
            <a:ext cx="559200" cy="713864"/>
          </a:xfrm>
          <a:prstGeom prst="rect">
            <a:avLst/>
          </a:prstGeom>
          <a:solidFill>
            <a:srgbClr val="85D294"/>
          </a:solidFill>
          <a:ln w="19050">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714E31F0-3033-103A-B1EE-3B31B407DE00}"/>
              </a:ext>
            </a:extLst>
          </p:cNvPr>
          <p:cNvSpPr/>
          <p:nvPr/>
        </p:nvSpPr>
        <p:spPr>
          <a:xfrm>
            <a:off x="5164120" y="1794204"/>
            <a:ext cx="559200" cy="522276"/>
          </a:xfrm>
          <a:prstGeom prst="rect">
            <a:avLst/>
          </a:prstGeom>
          <a:solidFill>
            <a:srgbClr val="85D294"/>
          </a:solidFill>
          <a:ln w="19050">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79D84BD4-CB5E-31D0-5E44-EE3F7ED7162C}"/>
              </a:ext>
            </a:extLst>
          </p:cNvPr>
          <p:cNvSpPr/>
          <p:nvPr/>
        </p:nvSpPr>
        <p:spPr>
          <a:xfrm>
            <a:off x="7454151" y="4455645"/>
            <a:ext cx="1123792" cy="477756"/>
          </a:xfrm>
          <a:prstGeom prst="rect">
            <a:avLst/>
          </a:prstGeom>
          <a:solidFill>
            <a:srgbClr val="85D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C1401E9F-B781-1071-383B-AF85E63E9EA9}"/>
              </a:ext>
            </a:extLst>
          </p:cNvPr>
          <p:cNvSpPr/>
          <p:nvPr/>
        </p:nvSpPr>
        <p:spPr>
          <a:xfrm>
            <a:off x="7979162" y="4059503"/>
            <a:ext cx="598781" cy="477756"/>
          </a:xfrm>
          <a:prstGeom prst="rect">
            <a:avLst/>
          </a:prstGeom>
          <a:solidFill>
            <a:srgbClr val="85D2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grpSp>
        <p:nvGrpSpPr>
          <p:cNvPr id="38" name="Group 37">
            <a:extLst>
              <a:ext uri="{FF2B5EF4-FFF2-40B4-BE49-F238E27FC236}">
                <a16:creationId xmlns:a16="http://schemas.microsoft.com/office/drawing/2014/main" id="{253B2F86-7439-20E1-4B78-E22864B52E0D}"/>
              </a:ext>
            </a:extLst>
          </p:cNvPr>
          <p:cNvGrpSpPr/>
          <p:nvPr/>
        </p:nvGrpSpPr>
        <p:grpSpPr>
          <a:xfrm>
            <a:off x="4493140" y="1736962"/>
            <a:ext cx="4165842" cy="3273593"/>
            <a:chOff x="5956180" y="1649638"/>
            <a:chExt cx="4165842" cy="3273593"/>
          </a:xfrm>
        </p:grpSpPr>
        <p:sp>
          <p:nvSpPr>
            <p:cNvPr id="28" name="Freeform: Shape 27">
              <a:extLst>
                <a:ext uri="{FF2B5EF4-FFF2-40B4-BE49-F238E27FC236}">
                  <a16:creationId xmlns:a16="http://schemas.microsoft.com/office/drawing/2014/main" id="{8F199395-7C0B-306D-32E8-A06366A2028B}"/>
                </a:ext>
              </a:extLst>
            </p:cNvPr>
            <p:cNvSpPr/>
            <p:nvPr/>
          </p:nvSpPr>
          <p:spPr>
            <a:xfrm>
              <a:off x="6026331" y="1706880"/>
              <a:ext cx="4014652" cy="8709"/>
            </a:xfrm>
            <a:custGeom>
              <a:avLst/>
              <a:gdLst>
                <a:gd name="connsiteX0" fmla="*/ 0 w 4014652"/>
                <a:gd name="connsiteY0" fmla="*/ 0 h 8709"/>
                <a:gd name="connsiteX1" fmla="*/ 4014652 w 4014652"/>
                <a:gd name="connsiteY1" fmla="*/ 8709 h 8709"/>
              </a:gdLst>
              <a:ahLst/>
              <a:cxnLst>
                <a:cxn ang="0">
                  <a:pos x="connsiteX0" y="connsiteY0"/>
                </a:cxn>
                <a:cxn ang="0">
                  <a:pos x="connsiteX1" y="connsiteY1"/>
                </a:cxn>
              </a:cxnLst>
              <a:rect l="l" t="t" r="r" b="b"/>
              <a:pathLst>
                <a:path w="4014652" h="8709">
                  <a:moveTo>
                    <a:pt x="0" y="0"/>
                  </a:moveTo>
                  <a:lnTo>
                    <a:pt x="4014652" y="8709"/>
                  </a:ln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37" name="Rectangle 36">
              <a:extLst>
                <a:ext uri="{FF2B5EF4-FFF2-40B4-BE49-F238E27FC236}">
                  <a16:creationId xmlns:a16="http://schemas.microsoft.com/office/drawing/2014/main" id="{D681B211-5546-8E88-6118-638DEAEE0C83}"/>
                </a:ext>
              </a:extLst>
            </p:cNvPr>
            <p:cNvSpPr/>
            <p:nvPr/>
          </p:nvSpPr>
          <p:spPr>
            <a:xfrm>
              <a:off x="7228114" y="2743200"/>
              <a:ext cx="1608424" cy="1045029"/>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pic>
          <p:nvPicPr>
            <p:cNvPr id="27" name="Picture 2" descr="Workplace 2.0 Furniture Plan - Metcalfe Realty Company Limited">
              <a:extLst>
                <a:ext uri="{FF2B5EF4-FFF2-40B4-BE49-F238E27FC236}">
                  <a16:creationId xmlns:a16="http://schemas.microsoft.com/office/drawing/2014/main" id="{9588F82A-A484-0DA4-415C-03B93D0840C2}"/>
                </a:ext>
              </a:extLst>
            </p:cNvPr>
            <p:cNvPicPr>
              <a:picLocks noChangeAspect="1" noChangeArrowheads="1"/>
            </p:cNvPicPr>
            <p:nvPr/>
          </p:nvPicPr>
          <p:blipFill rotWithShape="1">
            <a:blip r:embed="rId2">
              <a:clrChange>
                <a:clrFrom>
                  <a:srgbClr val="FEF9F3"/>
                </a:clrFrom>
                <a:clrTo>
                  <a:srgbClr val="FEF9F3">
                    <a:alpha val="0"/>
                  </a:srgbClr>
                </a:clrTo>
              </a:clrChange>
              <a:extLst>
                <a:ext uri="{28A0092B-C50C-407E-A947-70E740481C1C}">
                  <a14:useLocalDpi xmlns:a14="http://schemas.microsoft.com/office/drawing/2010/main" val="0"/>
                </a:ext>
              </a:extLst>
            </a:blip>
            <a:srcRect l="9354" t="7361" r="9000" b="17222"/>
            <a:stretch/>
          </p:blipFill>
          <p:spPr bwMode="auto">
            <a:xfrm>
              <a:off x="5956180" y="1649638"/>
              <a:ext cx="4165842" cy="3273593"/>
            </a:xfrm>
            <a:prstGeom prst="rect">
              <a:avLst/>
            </a:prstGeom>
            <a:noFill/>
            <a:extLst>
              <a:ext uri="{909E8E84-426E-40DD-AFC4-6F175D3DCCD1}">
                <a14:hiddenFill xmlns:a14="http://schemas.microsoft.com/office/drawing/2010/main">
                  <a:solidFill>
                    <a:srgbClr val="FFFFFF"/>
                  </a:solidFill>
                </a14:hiddenFill>
              </a:ext>
            </a:extLst>
          </p:spPr>
        </p:pic>
      </p:grpSp>
      <p:sp>
        <p:nvSpPr>
          <p:cNvPr id="8" name="Rectangle 7">
            <a:extLst>
              <a:ext uri="{FF2B5EF4-FFF2-40B4-BE49-F238E27FC236}">
                <a16:creationId xmlns:a16="http://schemas.microsoft.com/office/drawing/2014/main" id="{29EACF27-BE31-89F3-C14C-BEF016466D1F}"/>
              </a:ext>
            </a:extLst>
          </p:cNvPr>
          <p:cNvSpPr/>
          <p:nvPr/>
        </p:nvSpPr>
        <p:spPr>
          <a:xfrm>
            <a:off x="9129081" y="2840130"/>
            <a:ext cx="2360023" cy="1001817"/>
          </a:xfrm>
          <a:prstGeom prst="rect">
            <a:avLst/>
          </a:prstGeom>
          <a:solidFill>
            <a:srgbClr val="89D3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err="1">
                <a:ln>
                  <a:noFill/>
                </a:ln>
                <a:solidFill>
                  <a:srgbClr val="000000"/>
                </a:solidFill>
                <a:effectLst/>
                <a:uLnTx/>
                <a:uFillTx/>
                <a:latin typeface="Arial"/>
                <a:ea typeface="+mn-ea"/>
                <a:cs typeface="+mn-cs"/>
              </a:rPr>
              <a:t>Bookable</a:t>
            </a:r>
            <a:r>
              <a:rPr kumimoji="0" lang="fr-CA" sz="1600" b="1" i="0" u="none" strike="noStrike" kern="1200" cap="none" spc="0" normalizeH="0" baseline="0" noProof="0" dirty="0">
                <a:ln>
                  <a:noFill/>
                </a:ln>
                <a:solidFill>
                  <a:srgbClr val="000000"/>
                </a:solidFill>
                <a:effectLst/>
                <a:uLnTx/>
                <a:uFillTx/>
                <a:latin typeface="Arial"/>
                <a:ea typeface="+mn-ea"/>
                <a:cs typeface="+mn-cs"/>
              </a:rPr>
              <a:t> by the </a:t>
            </a:r>
            <a:r>
              <a:rPr kumimoji="0" lang="fr-CA" sz="1600" b="1" i="0" u="none" strike="noStrike" kern="1200" cap="none" spc="0" normalizeH="0" baseline="0" noProof="0" dirty="0" err="1">
                <a:ln>
                  <a:noFill/>
                </a:ln>
                <a:solidFill>
                  <a:srgbClr val="000000"/>
                </a:solidFill>
                <a:effectLst/>
                <a:uLnTx/>
                <a:uFillTx/>
                <a:latin typeface="Arial"/>
                <a:ea typeface="+mn-ea"/>
                <a:cs typeface="+mn-cs"/>
              </a:rPr>
              <a:t>Hour</a:t>
            </a:r>
            <a:endParaRPr kumimoji="0" lang="fr-CA" sz="16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Meeting </a:t>
            </a:r>
            <a:r>
              <a:rPr kumimoji="0" lang="fr-CA" sz="1400" b="0" i="0" u="none" strike="noStrike" kern="1200" cap="none" spc="0" normalizeH="0" baseline="0" noProof="0" dirty="0" err="1">
                <a:ln>
                  <a:noFill/>
                </a:ln>
                <a:solidFill>
                  <a:srgbClr val="000000"/>
                </a:solidFill>
                <a:effectLst/>
                <a:uLnTx/>
                <a:uFillTx/>
                <a:latin typeface="Arial"/>
                <a:ea typeface="+mn-ea"/>
                <a:cs typeface="+mn-cs"/>
              </a:rPr>
              <a:t>Spaces</a:t>
            </a:r>
            <a:endParaRPr kumimoji="0" lang="fr-CA" sz="1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Need to plan </a:t>
            </a:r>
            <a:r>
              <a:rPr kumimoji="0" lang="fr-CA" sz="1400" b="0" i="0" u="none" strike="noStrike" kern="1200" cap="none" spc="0" normalizeH="0" baseline="0" noProof="0" dirty="0" err="1">
                <a:ln>
                  <a:noFill/>
                </a:ln>
                <a:solidFill>
                  <a:srgbClr val="000000"/>
                </a:solidFill>
                <a:effectLst/>
                <a:uLnTx/>
                <a:uFillTx/>
                <a:latin typeface="Arial"/>
                <a:ea typeface="+mn-ea"/>
                <a:cs typeface="+mn-cs"/>
              </a:rPr>
              <a:t>ahead</a:t>
            </a:r>
            <a:endParaRPr kumimoji="0" lang="en-CA"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9" name="Rectangle 8">
            <a:extLst>
              <a:ext uri="{FF2B5EF4-FFF2-40B4-BE49-F238E27FC236}">
                <a16:creationId xmlns:a16="http://schemas.microsoft.com/office/drawing/2014/main" id="{E07C8555-3F67-7D7E-BB4F-F199B0AAC7B4}"/>
              </a:ext>
            </a:extLst>
          </p:cNvPr>
          <p:cNvSpPr/>
          <p:nvPr/>
        </p:nvSpPr>
        <p:spPr>
          <a:xfrm>
            <a:off x="9129082" y="4036351"/>
            <a:ext cx="2360023" cy="1001817"/>
          </a:xfrm>
          <a:prstGeom prst="rect">
            <a:avLst/>
          </a:prstGeom>
          <a:solidFill>
            <a:srgbClr val="85D294"/>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000000"/>
                </a:solidFill>
                <a:effectLst/>
                <a:uLnTx/>
                <a:uFillTx/>
                <a:latin typeface="Arial"/>
                <a:ea typeface="+mn-ea"/>
                <a:cs typeface="+mn-cs"/>
              </a:rPr>
              <a:t>Alternative Opt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err="1">
                <a:ln>
                  <a:noFill/>
                </a:ln>
                <a:solidFill>
                  <a:srgbClr val="000000"/>
                </a:solidFill>
                <a:effectLst/>
                <a:uLnTx/>
                <a:uFillTx/>
                <a:latin typeface="Arial"/>
                <a:ea typeface="+mn-ea"/>
                <a:cs typeface="+mn-cs"/>
              </a:rPr>
              <a:t>Some</a:t>
            </a:r>
            <a:r>
              <a:rPr kumimoji="0" lang="fr-CA" sz="1400" b="0" i="0" u="none" strike="noStrike" kern="1200" cap="none" spc="0" normalizeH="0" baseline="0" noProof="0" dirty="0">
                <a:ln>
                  <a:noFill/>
                </a:ln>
                <a:solidFill>
                  <a:srgbClr val="000000"/>
                </a:solidFill>
                <a:effectLst/>
                <a:uLnTx/>
                <a:uFillTx/>
                <a:latin typeface="Arial"/>
                <a:ea typeface="+mn-ea"/>
                <a:cs typeface="+mn-cs"/>
              </a:rPr>
              <a:t> quiet </a:t>
            </a:r>
            <a:r>
              <a:rPr kumimoji="0" lang="fr-CA" sz="1400" b="0" i="0" u="none" strike="noStrike" kern="1200" cap="none" spc="0" normalizeH="0" baseline="0" noProof="0" dirty="0" err="1">
                <a:ln>
                  <a:noFill/>
                </a:ln>
                <a:solidFill>
                  <a:srgbClr val="000000"/>
                </a:solidFill>
                <a:effectLst/>
                <a:uLnTx/>
                <a:uFillTx/>
                <a:latin typeface="Arial"/>
                <a:ea typeface="+mn-ea"/>
                <a:cs typeface="+mn-cs"/>
              </a:rPr>
              <a:t>worksations</a:t>
            </a:r>
            <a:endParaRPr kumimoji="0" lang="fr-CA" sz="1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Team cluster </a:t>
            </a:r>
            <a:r>
              <a:rPr kumimoji="0" lang="fr-CA" sz="1400" b="0" i="0" u="none" strike="noStrike" kern="1200" cap="none" spc="0" normalizeH="0" baseline="0" noProof="0" dirty="0" err="1">
                <a:ln>
                  <a:noFill/>
                </a:ln>
                <a:solidFill>
                  <a:srgbClr val="000000"/>
                </a:solidFill>
                <a:effectLst/>
                <a:uLnTx/>
                <a:uFillTx/>
                <a:latin typeface="Arial"/>
                <a:ea typeface="+mn-ea"/>
                <a:cs typeface="+mn-cs"/>
              </a:rPr>
              <a:t>booking</a:t>
            </a:r>
            <a:endParaRPr kumimoji="0" lang="fr-CA"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71958B85-041F-C28D-BF9F-A871F485F6F7}"/>
              </a:ext>
            </a:extLst>
          </p:cNvPr>
          <p:cNvSpPr/>
          <p:nvPr/>
        </p:nvSpPr>
        <p:spPr>
          <a:xfrm>
            <a:off x="4563291" y="1807505"/>
            <a:ext cx="559200" cy="713864"/>
          </a:xfrm>
          <a:prstGeom prst="rect">
            <a:avLst/>
          </a:prstGeom>
          <a:noFill/>
          <a:ln w="28575">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20" name="Rectangle 19">
            <a:extLst>
              <a:ext uri="{FF2B5EF4-FFF2-40B4-BE49-F238E27FC236}">
                <a16:creationId xmlns:a16="http://schemas.microsoft.com/office/drawing/2014/main" id="{0803A539-AFD7-E93B-CA75-5704CD3C33B4}"/>
              </a:ext>
            </a:extLst>
          </p:cNvPr>
          <p:cNvSpPr/>
          <p:nvPr/>
        </p:nvSpPr>
        <p:spPr>
          <a:xfrm>
            <a:off x="5155212" y="1807505"/>
            <a:ext cx="559200" cy="508975"/>
          </a:xfrm>
          <a:prstGeom prst="rect">
            <a:avLst/>
          </a:prstGeom>
          <a:noFill/>
          <a:ln w="28575">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5" name="Rectangle 4">
            <a:extLst>
              <a:ext uri="{FF2B5EF4-FFF2-40B4-BE49-F238E27FC236}">
                <a16:creationId xmlns:a16="http://schemas.microsoft.com/office/drawing/2014/main" id="{ED7A1F5D-0AD0-1E47-2A82-B14B033117F8}"/>
              </a:ext>
            </a:extLst>
          </p:cNvPr>
          <p:cNvSpPr/>
          <p:nvPr/>
        </p:nvSpPr>
        <p:spPr>
          <a:xfrm>
            <a:off x="9353004" y="4695740"/>
            <a:ext cx="139337" cy="14804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Tree>
    <p:extLst>
      <p:ext uri="{BB962C8B-B14F-4D97-AF65-F5344CB8AC3E}">
        <p14:creationId xmlns:p14="http://schemas.microsoft.com/office/powerpoint/2010/main" val="22858168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9816F-06BF-4E7D-B646-1B79FF1B9DE9}"/>
              </a:ext>
            </a:extLst>
          </p:cNvPr>
          <p:cNvSpPr>
            <a:spLocks noGrp="1"/>
          </p:cNvSpPr>
          <p:nvPr>
            <p:ph type="title"/>
          </p:nvPr>
        </p:nvSpPr>
        <p:spPr>
          <a:xfrm>
            <a:off x="245304" y="188640"/>
            <a:ext cx="11041821" cy="843880"/>
          </a:xfrm>
        </p:spPr>
        <p:txBody>
          <a:bodyPr anchor="ctr"/>
          <a:lstStyle/>
          <a:p>
            <a:pPr algn="l"/>
            <a:r>
              <a:rPr lang="en-US" sz="2800" b="0" dirty="0">
                <a:solidFill>
                  <a:srgbClr val="000000"/>
                </a:solidFill>
                <a:latin typeface="Avenir Next LT Pro Demi" panose="020B0704020202020204" pitchFamily="34" charset="0"/>
                <a:cs typeface="Arial" panose="020B0604020202020204" pitchFamily="34" charset="0"/>
              </a:rPr>
              <a:t>Space Booking Considerations for Traditional Workplaces</a:t>
            </a:r>
            <a:endParaRPr lang="en-CA" sz="2800" b="0" dirty="0">
              <a:latin typeface="Avenir Next LT Pro Demi" panose="020B0704020202020204" pitchFamily="34" charset="0"/>
            </a:endParaRPr>
          </a:p>
        </p:txBody>
      </p:sp>
      <p:sp>
        <p:nvSpPr>
          <p:cNvPr id="3" name="TextBox 2">
            <a:extLst>
              <a:ext uri="{FF2B5EF4-FFF2-40B4-BE49-F238E27FC236}">
                <a16:creationId xmlns:a16="http://schemas.microsoft.com/office/drawing/2014/main" id="{43BB42A1-CAB7-F3BE-E39A-4715561A6063}"/>
              </a:ext>
            </a:extLst>
          </p:cNvPr>
          <p:cNvSpPr txBox="1"/>
          <p:nvPr/>
        </p:nvSpPr>
        <p:spPr>
          <a:xfrm>
            <a:off x="0" y="1032520"/>
            <a:ext cx="3707285" cy="4682480"/>
          </a:xfrm>
          <a:prstGeom prst="rect">
            <a:avLst/>
          </a:prstGeom>
          <a:solidFill>
            <a:srgbClr val="FFFFFF"/>
          </a:solidFill>
          <a:ln>
            <a:noFill/>
          </a:ln>
        </p:spPr>
        <p:txBody>
          <a:bodyPr wrap="square" lIns="360000" tIns="252000" rIns="360000" bIns="252000" rtlCol="0" anchor="ctr" anchorCtr="0">
            <a:noAutofit/>
          </a:bodyPr>
          <a:lstStyle/>
          <a:p>
            <a:pPr marL="0" marR="0" lvl="0" indent="0" algn="l" defTabSz="914400" rtl="0" eaLnBrk="1" fontAlgn="auto" latinLnBrk="0" hangingPunct="1">
              <a:lnSpc>
                <a:spcPts val="3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rPr>
              <a:t>In the case of traditional workplaces (pre-WP2.0), it is generally best to keep a simple ‘</a:t>
            </a:r>
            <a:r>
              <a:rPr kumimoji="0" lang="en-CA" sz="1800" b="0" i="1"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rPr>
              <a:t>book-a-workstation for-the-day</a:t>
            </a:r>
            <a:r>
              <a:rPr kumimoji="0" lang="en-CA" sz="18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rPr>
              <a:t>’ strategy. With high workstation panels, the environment is not conducive collaboration outside of meeting rooms and it is very difficult to see what is occupied or </a:t>
            </a:r>
            <a:r>
              <a:rPr kumimoji="0" lang="en-CA" sz="1800" b="0" i="0" u="none" strike="noStrike" kern="1200" cap="none" spc="0" normalizeH="0" baseline="0" noProof="0" dirty="0" err="1">
                <a:ln>
                  <a:noFill/>
                </a:ln>
                <a:solidFill>
                  <a:srgbClr val="000000"/>
                </a:solidFill>
                <a:effectLst/>
                <a:uLnTx/>
                <a:uFillTx/>
                <a:latin typeface="Avenir Next LT Pro Demi" panose="020B0704020202020204" pitchFamily="34" charset="0"/>
                <a:ea typeface="+mn-ea"/>
                <a:cs typeface="+mn-cs"/>
              </a:rPr>
              <a:t>vancant</a:t>
            </a:r>
            <a:r>
              <a:rPr kumimoji="0" lang="en-CA" sz="18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rPr>
              <a:t>.</a:t>
            </a:r>
          </a:p>
        </p:txBody>
      </p:sp>
      <p:sp>
        <p:nvSpPr>
          <p:cNvPr id="4" name="Rectangle 3">
            <a:extLst>
              <a:ext uri="{FF2B5EF4-FFF2-40B4-BE49-F238E27FC236}">
                <a16:creationId xmlns:a16="http://schemas.microsoft.com/office/drawing/2014/main" id="{829FD096-C4F1-D143-8CB2-D0F373530E9B}"/>
              </a:ext>
            </a:extLst>
          </p:cNvPr>
          <p:cNvSpPr/>
          <p:nvPr/>
        </p:nvSpPr>
        <p:spPr>
          <a:xfrm>
            <a:off x="3886201" y="1032519"/>
            <a:ext cx="8305800" cy="468247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srgbClr val="F1F2F2"/>
              </a:solidFill>
              <a:effectLst/>
              <a:uLnTx/>
              <a:uFillTx/>
              <a:latin typeface="Arial"/>
              <a:ea typeface="+mn-ea"/>
              <a:cs typeface="+mn-cs"/>
            </a:endParaRPr>
          </a:p>
        </p:txBody>
      </p:sp>
      <p:sp>
        <p:nvSpPr>
          <p:cNvPr id="22" name="Rectangle 21">
            <a:extLst>
              <a:ext uri="{FF2B5EF4-FFF2-40B4-BE49-F238E27FC236}">
                <a16:creationId xmlns:a16="http://schemas.microsoft.com/office/drawing/2014/main" id="{4B1E0524-A1DC-3759-D126-660A9824ED32}"/>
              </a:ext>
            </a:extLst>
          </p:cNvPr>
          <p:cNvSpPr/>
          <p:nvPr/>
        </p:nvSpPr>
        <p:spPr>
          <a:xfrm>
            <a:off x="4450080" y="3805313"/>
            <a:ext cx="1881052" cy="853773"/>
          </a:xfrm>
          <a:prstGeom prst="rect">
            <a:avLst/>
          </a:prstGeom>
          <a:solidFill>
            <a:srgbClr val="9BE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23" name="Rectangle 22">
            <a:extLst>
              <a:ext uri="{FF2B5EF4-FFF2-40B4-BE49-F238E27FC236}">
                <a16:creationId xmlns:a16="http://schemas.microsoft.com/office/drawing/2014/main" id="{1A3E6863-7EF8-A21D-2139-89ED95773F1D}"/>
              </a:ext>
            </a:extLst>
          </p:cNvPr>
          <p:cNvSpPr/>
          <p:nvPr/>
        </p:nvSpPr>
        <p:spPr>
          <a:xfrm>
            <a:off x="9129081" y="1643910"/>
            <a:ext cx="2360023" cy="1001817"/>
          </a:xfrm>
          <a:prstGeom prst="rect">
            <a:avLst/>
          </a:prstGeom>
          <a:solidFill>
            <a:srgbClr val="9BE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000000"/>
                </a:solidFill>
                <a:effectLst/>
                <a:uLnTx/>
                <a:uFillTx/>
                <a:latin typeface="Arial"/>
                <a:ea typeface="+mn-ea"/>
                <a:cs typeface="+mn-cs"/>
              </a:rPr>
              <a:t>Workstation </a:t>
            </a:r>
            <a:r>
              <a:rPr kumimoji="0" lang="fr-CA" sz="1600" b="1" i="0" u="none" strike="noStrike" kern="1200" cap="none" spc="0" normalizeH="0" baseline="0" noProof="0" dirty="0" err="1">
                <a:ln>
                  <a:noFill/>
                </a:ln>
                <a:solidFill>
                  <a:srgbClr val="000000"/>
                </a:solidFill>
                <a:effectLst/>
                <a:uLnTx/>
                <a:uFillTx/>
                <a:latin typeface="Arial"/>
                <a:ea typeface="+mn-ea"/>
                <a:cs typeface="+mn-cs"/>
              </a:rPr>
              <a:t>Booking</a:t>
            </a:r>
            <a:endParaRPr kumimoji="0" lang="fr-CA" sz="16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Can </a:t>
            </a:r>
            <a:r>
              <a:rPr kumimoji="0" lang="fr-CA" sz="1400" b="0" i="0" u="none" strike="noStrike" kern="1200" cap="none" spc="0" normalizeH="0" baseline="0" noProof="0" dirty="0" err="1">
                <a:ln>
                  <a:noFill/>
                </a:ln>
                <a:solidFill>
                  <a:srgbClr val="000000"/>
                </a:solidFill>
                <a:effectLst/>
                <a:uLnTx/>
                <a:uFillTx/>
                <a:latin typeface="Arial"/>
                <a:ea typeface="+mn-ea"/>
                <a:cs typeface="+mn-cs"/>
              </a:rPr>
              <a:t>be</a:t>
            </a:r>
            <a:r>
              <a:rPr kumimoji="0" lang="fr-CA" sz="1400" b="0" i="0" u="none" strike="noStrike" kern="1200" cap="none" spc="0" normalizeH="0" baseline="0" noProof="0" dirty="0">
                <a:ln>
                  <a:noFill/>
                </a:ln>
                <a:solidFill>
                  <a:srgbClr val="000000"/>
                </a:solidFill>
                <a:effectLst/>
                <a:uLnTx/>
                <a:uFillTx/>
                <a:latin typeface="Arial"/>
                <a:ea typeface="+mn-ea"/>
                <a:cs typeface="+mn-cs"/>
              </a:rPr>
              <a:t> </a:t>
            </a:r>
            <a:r>
              <a:rPr kumimoji="0" lang="fr-CA" sz="1400" b="0" i="0" u="none" strike="noStrike" kern="1200" cap="none" spc="0" normalizeH="0" baseline="0" noProof="0" dirty="0" err="1">
                <a:ln>
                  <a:noFill/>
                </a:ln>
                <a:solidFill>
                  <a:srgbClr val="000000"/>
                </a:solidFill>
                <a:effectLst/>
                <a:uLnTx/>
                <a:uFillTx/>
                <a:latin typeface="Arial"/>
                <a:ea typeface="+mn-ea"/>
                <a:cs typeface="+mn-cs"/>
              </a:rPr>
              <a:t>coordinated</a:t>
            </a:r>
            <a:r>
              <a:rPr kumimoji="0" lang="fr-CA" sz="1400" b="0" i="0" u="none" strike="noStrike" kern="1200" cap="none" spc="0" normalizeH="0" baseline="0" noProof="0" dirty="0">
                <a:ln>
                  <a:noFill/>
                </a:ln>
                <a:solidFill>
                  <a:srgbClr val="000000"/>
                </a:solidFill>
                <a:effectLst/>
                <a:uLnTx/>
                <a:uFillTx/>
                <a:latin typeface="Arial"/>
                <a:ea typeface="+mn-ea"/>
                <a:cs typeface="+mn-cs"/>
              </a:rPr>
              <a:t> </a:t>
            </a:r>
            <a:r>
              <a:rPr kumimoji="0" lang="fr-CA" sz="1400" b="0" i="0" u="none" strike="noStrike" kern="1200" cap="none" spc="0" normalizeH="0" baseline="0" noProof="0" dirty="0" err="1">
                <a:ln>
                  <a:noFill/>
                </a:ln>
                <a:solidFill>
                  <a:srgbClr val="000000"/>
                </a:solidFill>
                <a:effectLst/>
                <a:uLnTx/>
                <a:uFillTx/>
                <a:latin typeface="Arial"/>
                <a:ea typeface="+mn-ea"/>
                <a:cs typeface="+mn-cs"/>
              </a:rPr>
              <a:t>with</a:t>
            </a:r>
            <a:r>
              <a:rPr kumimoji="0" lang="fr-CA" sz="1400" b="0" i="0" u="none" strike="noStrike" kern="1200" cap="none" spc="0" normalizeH="0" baseline="0" noProof="0" dirty="0">
                <a:ln>
                  <a:noFill/>
                </a:ln>
                <a:solidFill>
                  <a:srgbClr val="000000"/>
                </a:solidFill>
                <a:effectLst/>
                <a:uLnTx/>
                <a:uFillTx/>
                <a:latin typeface="Arial"/>
                <a:ea typeface="+mn-ea"/>
                <a:cs typeface="+mn-cs"/>
              </a:rPr>
              <a:t> </a:t>
            </a:r>
            <a:r>
              <a:rPr kumimoji="0" lang="fr-CA" sz="1400" b="0" i="0" u="none" strike="noStrike" kern="1200" cap="none" spc="0" normalizeH="0" baseline="0" noProof="0" dirty="0" err="1">
                <a:ln>
                  <a:noFill/>
                </a:ln>
                <a:solidFill>
                  <a:srgbClr val="000000"/>
                </a:solidFill>
                <a:effectLst/>
                <a:uLnTx/>
                <a:uFillTx/>
                <a:latin typeface="Arial"/>
                <a:ea typeface="+mn-ea"/>
                <a:cs typeface="+mn-cs"/>
              </a:rPr>
              <a:t>other</a:t>
            </a:r>
            <a:r>
              <a:rPr kumimoji="0" lang="fr-CA" sz="1400" b="0" i="0" u="none" strike="noStrike" kern="1200" cap="none" spc="0" normalizeH="0" baseline="0" noProof="0" dirty="0">
                <a:ln>
                  <a:noFill/>
                </a:ln>
                <a:solidFill>
                  <a:srgbClr val="000000"/>
                </a:solidFill>
                <a:effectLst/>
                <a:uLnTx/>
                <a:uFillTx/>
                <a:latin typeface="Arial"/>
                <a:ea typeface="+mn-ea"/>
                <a:cs typeface="+mn-cs"/>
              </a:rPr>
              <a:t> team </a:t>
            </a:r>
            <a:r>
              <a:rPr kumimoji="0" lang="fr-CA" sz="1400" b="0" i="0" u="none" strike="noStrike" kern="1200" cap="none" spc="0" normalizeH="0" baseline="0" noProof="0" dirty="0" err="1">
                <a:ln>
                  <a:noFill/>
                </a:ln>
                <a:solidFill>
                  <a:srgbClr val="000000"/>
                </a:solidFill>
                <a:effectLst/>
                <a:uLnTx/>
                <a:uFillTx/>
                <a:latin typeface="Arial"/>
                <a:ea typeface="+mn-ea"/>
                <a:cs typeface="+mn-cs"/>
              </a:rPr>
              <a:t>members</a:t>
            </a:r>
            <a:endParaRPr kumimoji="0" lang="fr-CA"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4" name="Rectangle 23">
            <a:extLst>
              <a:ext uri="{FF2B5EF4-FFF2-40B4-BE49-F238E27FC236}">
                <a16:creationId xmlns:a16="http://schemas.microsoft.com/office/drawing/2014/main" id="{0A48A009-C1F6-F55A-4C3D-1C451F81797F}"/>
              </a:ext>
            </a:extLst>
          </p:cNvPr>
          <p:cNvSpPr/>
          <p:nvPr/>
        </p:nvSpPr>
        <p:spPr>
          <a:xfrm>
            <a:off x="9129081" y="2840130"/>
            <a:ext cx="2360023" cy="1001817"/>
          </a:xfrm>
          <a:prstGeom prst="rect">
            <a:avLst/>
          </a:prstGeom>
          <a:solidFill>
            <a:srgbClr val="89D3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err="1">
                <a:ln>
                  <a:noFill/>
                </a:ln>
                <a:solidFill>
                  <a:srgbClr val="000000"/>
                </a:solidFill>
                <a:effectLst/>
                <a:uLnTx/>
                <a:uFillTx/>
                <a:latin typeface="Arial"/>
                <a:ea typeface="+mn-ea"/>
                <a:cs typeface="+mn-cs"/>
              </a:rPr>
              <a:t>Bookable</a:t>
            </a:r>
            <a:r>
              <a:rPr kumimoji="0" lang="fr-CA" sz="1600" b="1" i="0" u="none" strike="noStrike" kern="1200" cap="none" spc="0" normalizeH="0" baseline="0" noProof="0" dirty="0">
                <a:ln>
                  <a:noFill/>
                </a:ln>
                <a:solidFill>
                  <a:srgbClr val="000000"/>
                </a:solidFill>
                <a:effectLst/>
                <a:uLnTx/>
                <a:uFillTx/>
                <a:latin typeface="Arial"/>
                <a:ea typeface="+mn-ea"/>
                <a:cs typeface="+mn-cs"/>
              </a:rPr>
              <a:t> by the </a:t>
            </a:r>
            <a:r>
              <a:rPr kumimoji="0" lang="fr-CA" sz="1600" b="1" i="0" u="none" strike="noStrike" kern="1200" cap="none" spc="0" normalizeH="0" baseline="0" noProof="0" dirty="0" err="1">
                <a:ln>
                  <a:noFill/>
                </a:ln>
                <a:solidFill>
                  <a:srgbClr val="000000"/>
                </a:solidFill>
                <a:effectLst/>
                <a:uLnTx/>
                <a:uFillTx/>
                <a:latin typeface="Arial"/>
                <a:ea typeface="+mn-ea"/>
                <a:cs typeface="+mn-cs"/>
              </a:rPr>
              <a:t>Hour</a:t>
            </a:r>
            <a:endParaRPr kumimoji="0" lang="fr-CA" sz="16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Meeting </a:t>
            </a:r>
            <a:r>
              <a:rPr kumimoji="0" lang="fr-CA" sz="1400" b="0" i="0" u="none" strike="noStrike" kern="1200" cap="none" spc="0" normalizeH="0" baseline="0" noProof="0" dirty="0" err="1">
                <a:ln>
                  <a:noFill/>
                </a:ln>
                <a:solidFill>
                  <a:srgbClr val="000000"/>
                </a:solidFill>
                <a:effectLst/>
                <a:uLnTx/>
                <a:uFillTx/>
                <a:latin typeface="Arial"/>
                <a:ea typeface="+mn-ea"/>
                <a:cs typeface="+mn-cs"/>
              </a:rPr>
              <a:t>Spaces</a:t>
            </a:r>
            <a:endParaRPr kumimoji="0" lang="fr-CA" sz="1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Need to plan </a:t>
            </a:r>
            <a:r>
              <a:rPr kumimoji="0" lang="fr-CA" sz="1400" b="0" i="0" u="none" strike="noStrike" kern="1200" cap="none" spc="0" normalizeH="0" baseline="0" noProof="0" dirty="0" err="1">
                <a:ln>
                  <a:noFill/>
                </a:ln>
                <a:solidFill>
                  <a:srgbClr val="000000"/>
                </a:solidFill>
                <a:effectLst/>
                <a:uLnTx/>
                <a:uFillTx/>
                <a:latin typeface="Arial"/>
                <a:ea typeface="+mn-ea"/>
                <a:cs typeface="+mn-cs"/>
              </a:rPr>
              <a:t>ahead</a:t>
            </a:r>
            <a:endParaRPr kumimoji="0" lang="en-CA"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D0F3A0B6-EE9E-7583-1F49-6EA7BF4F7723}"/>
              </a:ext>
            </a:extLst>
          </p:cNvPr>
          <p:cNvSpPr/>
          <p:nvPr/>
        </p:nvSpPr>
        <p:spPr>
          <a:xfrm>
            <a:off x="9129082" y="4036351"/>
            <a:ext cx="2360023" cy="1001817"/>
          </a:xfrm>
          <a:prstGeom prst="rect">
            <a:avLst/>
          </a:prstGeom>
          <a:solidFill>
            <a:srgbClr val="FFD2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000000"/>
                </a:solidFill>
                <a:effectLst/>
                <a:uLnTx/>
                <a:uFillTx/>
                <a:latin typeface="Arial"/>
                <a:ea typeface="+mn-ea"/>
                <a:cs typeface="+mn-cs"/>
              </a:rPr>
              <a:t>No </a:t>
            </a:r>
            <a:r>
              <a:rPr kumimoji="0" lang="fr-CA" sz="1600" b="1" i="0" u="none" strike="noStrike" kern="1200" cap="none" spc="0" normalizeH="0" baseline="0" noProof="0" dirty="0" err="1">
                <a:ln>
                  <a:noFill/>
                </a:ln>
                <a:solidFill>
                  <a:srgbClr val="000000"/>
                </a:solidFill>
                <a:effectLst/>
                <a:uLnTx/>
                <a:uFillTx/>
                <a:latin typeface="Arial"/>
                <a:ea typeface="+mn-ea"/>
                <a:cs typeface="+mn-cs"/>
              </a:rPr>
              <a:t>Booking</a:t>
            </a:r>
            <a:r>
              <a:rPr kumimoji="0" lang="fr-CA" sz="1600" b="1" i="0" u="none" strike="noStrike" kern="1200" cap="none" spc="0" normalizeH="0" baseline="0" noProof="0" dirty="0">
                <a:ln>
                  <a:noFill/>
                </a:ln>
                <a:solidFill>
                  <a:srgbClr val="000000"/>
                </a:solidFill>
                <a:effectLst/>
                <a:uLnTx/>
                <a:uFillTx/>
                <a:latin typeface="Arial"/>
                <a:ea typeface="+mn-ea"/>
                <a:cs typeface="+mn-cs"/>
              </a:rPr>
              <a:t> </a:t>
            </a:r>
            <a:r>
              <a:rPr kumimoji="0" lang="fr-CA" sz="1600" b="1" i="0" u="none" strike="noStrike" kern="1200" cap="none" spc="0" normalizeH="0" baseline="0" noProof="0" dirty="0" err="1">
                <a:ln>
                  <a:noFill/>
                </a:ln>
                <a:solidFill>
                  <a:srgbClr val="000000"/>
                </a:solidFill>
                <a:effectLst/>
                <a:uLnTx/>
                <a:uFillTx/>
                <a:latin typeface="Arial"/>
                <a:ea typeface="+mn-ea"/>
                <a:cs typeface="+mn-cs"/>
              </a:rPr>
              <a:t>Req’d</a:t>
            </a:r>
            <a:endParaRPr kumimoji="0" lang="fr-CA" sz="16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For ad-hoc use</a:t>
            </a:r>
          </a:p>
        </p:txBody>
      </p:sp>
      <p:sp>
        <p:nvSpPr>
          <p:cNvPr id="26" name="Rectangle 25">
            <a:extLst>
              <a:ext uri="{FF2B5EF4-FFF2-40B4-BE49-F238E27FC236}">
                <a16:creationId xmlns:a16="http://schemas.microsoft.com/office/drawing/2014/main" id="{E38A0800-10BA-3FFC-9616-683AF920BA9E}"/>
              </a:ext>
            </a:extLst>
          </p:cNvPr>
          <p:cNvSpPr/>
          <p:nvPr/>
        </p:nvSpPr>
        <p:spPr>
          <a:xfrm>
            <a:off x="4450080" y="1986357"/>
            <a:ext cx="1881052" cy="853773"/>
          </a:xfrm>
          <a:prstGeom prst="rect">
            <a:avLst/>
          </a:prstGeom>
          <a:solidFill>
            <a:srgbClr val="9BE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30" name="Rectangle 29">
            <a:extLst>
              <a:ext uri="{FF2B5EF4-FFF2-40B4-BE49-F238E27FC236}">
                <a16:creationId xmlns:a16="http://schemas.microsoft.com/office/drawing/2014/main" id="{275161F7-44D1-A1AA-0A9C-0087CE18B09B}"/>
              </a:ext>
            </a:extLst>
          </p:cNvPr>
          <p:cNvSpPr/>
          <p:nvPr/>
        </p:nvSpPr>
        <p:spPr>
          <a:xfrm>
            <a:off x="5016137" y="3052688"/>
            <a:ext cx="548640" cy="613622"/>
          </a:xfrm>
          <a:prstGeom prst="rect">
            <a:avLst/>
          </a:prstGeom>
          <a:solidFill>
            <a:srgbClr val="9BE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31" name="Rectangle 30">
            <a:extLst>
              <a:ext uri="{FF2B5EF4-FFF2-40B4-BE49-F238E27FC236}">
                <a16:creationId xmlns:a16="http://schemas.microsoft.com/office/drawing/2014/main" id="{A8BC9F78-640B-FC1A-16F3-6CEAED576AC4}"/>
              </a:ext>
            </a:extLst>
          </p:cNvPr>
          <p:cNvSpPr/>
          <p:nvPr/>
        </p:nvSpPr>
        <p:spPr>
          <a:xfrm>
            <a:off x="5734984" y="3058238"/>
            <a:ext cx="548640" cy="613622"/>
          </a:xfrm>
          <a:prstGeom prst="rect">
            <a:avLst/>
          </a:prstGeom>
          <a:solidFill>
            <a:srgbClr val="9BE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34" name="Rectangle 33">
            <a:extLst>
              <a:ext uri="{FF2B5EF4-FFF2-40B4-BE49-F238E27FC236}">
                <a16:creationId xmlns:a16="http://schemas.microsoft.com/office/drawing/2014/main" id="{4774B455-A400-4142-F981-20B597D842EE}"/>
              </a:ext>
            </a:extLst>
          </p:cNvPr>
          <p:cNvSpPr/>
          <p:nvPr/>
        </p:nvSpPr>
        <p:spPr>
          <a:xfrm>
            <a:off x="7034313" y="2072640"/>
            <a:ext cx="716316" cy="767490"/>
          </a:xfrm>
          <a:prstGeom prst="rect">
            <a:avLst/>
          </a:prstGeom>
          <a:solidFill>
            <a:srgbClr val="9BE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35" name="Rectangle 34">
            <a:extLst>
              <a:ext uri="{FF2B5EF4-FFF2-40B4-BE49-F238E27FC236}">
                <a16:creationId xmlns:a16="http://schemas.microsoft.com/office/drawing/2014/main" id="{702295BC-30B5-F31B-A979-80543704841D}"/>
              </a:ext>
            </a:extLst>
          </p:cNvPr>
          <p:cNvSpPr/>
          <p:nvPr/>
        </p:nvSpPr>
        <p:spPr>
          <a:xfrm>
            <a:off x="7051981" y="3848454"/>
            <a:ext cx="1308247" cy="767490"/>
          </a:xfrm>
          <a:prstGeom prst="rect">
            <a:avLst/>
          </a:prstGeom>
          <a:solidFill>
            <a:srgbClr val="9BE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36" name="Rectangle 35">
            <a:extLst>
              <a:ext uri="{FF2B5EF4-FFF2-40B4-BE49-F238E27FC236}">
                <a16:creationId xmlns:a16="http://schemas.microsoft.com/office/drawing/2014/main" id="{B6298FED-9FFC-78E9-562D-E85D3A1F954D}"/>
              </a:ext>
            </a:extLst>
          </p:cNvPr>
          <p:cNvSpPr/>
          <p:nvPr/>
        </p:nvSpPr>
        <p:spPr>
          <a:xfrm>
            <a:off x="6421860" y="3891596"/>
            <a:ext cx="544998" cy="724348"/>
          </a:xfrm>
          <a:prstGeom prst="rect">
            <a:avLst/>
          </a:prstGeom>
          <a:solidFill>
            <a:srgbClr val="89D3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39" name="Rectangle 38">
            <a:extLst>
              <a:ext uri="{FF2B5EF4-FFF2-40B4-BE49-F238E27FC236}">
                <a16:creationId xmlns:a16="http://schemas.microsoft.com/office/drawing/2014/main" id="{2C625C1E-1A96-C1D4-14AA-7C82DB68214F}"/>
              </a:ext>
            </a:extLst>
          </p:cNvPr>
          <p:cNvSpPr/>
          <p:nvPr/>
        </p:nvSpPr>
        <p:spPr>
          <a:xfrm>
            <a:off x="6421860" y="2081349"/>
            <a:ext cx="544998" cy="724348"/>
          </a:xfrm>
          <a:prstGeom prst="rect">
            <a:avLst/>
          </a:prstGeom>
          <a:solidFill>
            <a:srgbClr val="89D3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42" name="Rectangle 41">
            <a:extLst>
              <a:ext uri="{FF2B5EF4-FFF2-40B4-BE49-F238E27FC236}">
                <a16:creationId xmlns:a16="http://schemas.microsoft.com/office/drawing/2014/main" id="{FFD3FA68-C209-C188-20BB-50931A3A32A2}"/>
              </a:ext>
            </a:extLst>
          </p:cNvPr>
          <p:cNvSpPr/>
          <p:nvPr/>
        </p:nvSpPr>
        <p:spPr>
          <a:xfrm>
            <a:off x="6377813" y="2960917"/>
            <a:ext cx="544998" cy="770298"/>
          </a:xfrm>
          <a:prstGeom prst="rect">
            <a:avLst/>
          </a:prstGeom>
          <a:solidFill>
            <a:srgbClr val="89D3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43" name="Rectangle 42">
            <a:extLst>
              <a:ext uri="{FF2B5EF4-FFF2-40B4-BE49-F238E27FC236}">
                <a16:creationId xmlns:a16="http://schemas.microsoft.com/office/drawing/2014/main" id="{88FE7C17-7A30-B942-023D-49B0B4D29630}"/>
              </a:ext>
            </a:extLst>
          </p:cNvPr>
          <p:cNvSpPr/>
          <p:nvPr/>
        </p:nvSpPr>
        <p:spPr>
          <a:xfrm>
            <a:off x="7917521" y="1953809"/>
            <a:ext cx="544998" cy="853773"/>
          </a:xfrm>
          <a:prstGeom prst="rect">
            <a:avLst/>
          </a:prstGeom>
          <a:solidFill>
            <a:srgbClr val="89D3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44" name="Rectangle 43">
            <a:extLst>
              <a:ext uri="{FF2B5EF4-FFF2-40B4-BE49-F238E27FC236}">
                <a16:creationId xmlns:a16="http://schemas.microsoft.com/office/drawing/2014/main" id="{643C0750-8D0A-A838-F5A9-858FCD0D0191}"/>
              </a:ext>
            </a:extLst>
          </p:cNvPr>
          <p:cNvSpPr/>
          <p:nvPr/>
        </p:nvSpPr>
        <p:spPr>
          <a:xfrm>
            <a:off x="4587009" y="2965514"/>
            <a:ext cx="250212" cy="770298"/>
          </a:xfrm>
          <a:prstGeom prst="rect">
            <a:avLst/>
          </a:prstGeom>
          <a:solidFill>
            <a:srgbClr val="89D3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45" name="Rectangle 44">
            <a:extLst>
              <a:ext uri="{FF2B5EF4-FFF2-40B4-BE49-F238E27FC236}">
                <a16:creationId xmlns:a16="http://schemas.microsoft.com/office/drawing/2014/main" id="{F9787F14-7446-C86B-8BB6-11A3B7756655}"/>
              </a:ext>
            </a:extLst>
          </p:cNvPr>
          <p:cNvSpPr/>
          <p:nvPr/>
        </p:nvSpPr>
        <p:spPr>
          <a:xfrm>
            <a:off x="4337120" y="3335382"/>
            <a:ext cx="249889" cy="409265"/>
          </a:xfrm>
          <a:prstGeom prst="rect">
            <a:avLst/>
          </a:prstGeom>
          <a:solidFill>
            <a:srgbClr val="89D3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16119FF5-F291-055B-6CF2-BCAEFF0331D5}"/>
              </a:ext>
            </a:extLst>
          </p:cNvPr>
          <p:cNvSpPr/>
          <p:nvPr/>
        </p:nvSpPr>
        <p:spPr>
          <a:xfrm>
            <a:off x="4110126" y="2495583"/>
            <a:ext cx="226994" cy="344547"/>
          </a:xfrm>
          <a:prstGeom prst="rect">
            <a:avLst/>
          </a:prstGeom>
          <a:solidFill>
            <a:srgbClr val="FFD2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47" name="Rectangle 46">
            <a:extLst>
              <a:ext uri="{FF2B5EF4-FFF2-40B4-BE49-F238E27FC236}">
                <a16:creationId xmlns:a16="http://schemas.microsoft.com/office/drawing/2014/main" id="{FE9F2EC4-D85F-FC64-4B0C-82B6DFBEF8E3}"/>
              </a:ext>
            </a:extLst>
          </p:cNvPr>
          <p:cNvSpPr/>
          <p:nvPr/>
        </p:nvSpPr>
        <p:spPr>
          <a:xfrm>
            <a:off x="6423317" y="4659086"/>
            <a:ext cx="543541" cy="158028"/>
          </a:xfrm>
          <a:prstGeom prst="rect">
            <a:avLst/>
          </a:prstGeom>
          <a:solidFill>
            <a:srgbClr val="FFD2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067632CF-409F-95C4-D01A-B0714934DEFB}"/>
              </a:ext>
            </a:extLst>
          </p:cNvPr>
          <p:cNvSpPr/>
          <p:nvPr/>
        </p:nvSpPr>
        <p:spPr>
          <a:xfrm>
            <a:off x="6421859" y="1886899"/>
            <a:ext cx="544997" cy="146147"/>
          </a:xfrm>
          <a:prstGeom prst="rect">
            <a:avLst/>
          </a:prstGeom>
          <a:solidFill>
            <a:srgbClr val="FFD2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50" name="Freeform: Shape 49">
            <a:extLst>
              <a:ext uri="{FF2B5EF4-FFF2-40B4-BE49-F238E27FC236}">
                <a16:creationId xmlns:a16="http://schemas.microsoft.com/office/drawing/2014/main" id="{0E2AE62D-EA31-05D3-624E-9EDDF2FB9543}"/>
              </a:ext>
            </a:extLst>
          </p:cNvPr>
          <p:cNvSpPr/>
          <p:nvPr/>
        </p:nvSpPr>
        <p:spPr>
          <a:xfrm>
            <a:off x="8473440" y="1942011"/>
            <a:ext cx="487680" cy="661852"/>
          </a:xfrm>
          <a:custGeom>
            <a:avLst/>
            <a:gdLst>
              <a:gd name="connsiteX0" fmla="*/ 0 w 487680"/>
              <a:gd name="connsiteY0" fmla="*/ 661852 h 661852"/>
              <a:gd name="connsiteX1" fmla="*/ 296091 w 487680"/>
              <a:gd name="connsiteY1" fmla="*/ 661852 h 661852"/>
              <a:gd name="connsiteX2" fmla="*/ 478971 w 487680"/>
              <a:gd name="connsiteY2" fmla="*/ 609600 h 661852"/>
              <a:gd name="connsiteX3" fmla="*/ 487680 w 487680"/>
              <a:gd name="connsiteY3" fmla="*/ 557349 h 661852"/>
              <a:gd name="connsiteX4" fmla="*/ 322217 w 487680"/>
              <a:gd name="connsiteY4" fmla="*/ 0 h 661852"/>
              <a:gd name="connsiteX5" fmla="*/ 8709 w 487680"/>
              <a:gd name="connsiteY5" fmla="*/ 0 h 661852"/>
              <a:gd name="connsiteX6" fmla="*/ 0 w 487680"/>
              <a:gd name="connsiteY6" fmla="*/ 661852 h 661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7680" h="661852">
                <a:moveTo>
                  <a:pt x="0" y="661852"/>
                </a:moveTo>
                <a:lnTo>
                  <a:pt x="296091" y="661852"/>
                </a:lnTo>
                <a:lnTo>
                  <a:pt x="478971" y="609600"/>
                </a:lnTo>
                <a:lnTo>
                  <a:pt x="487680" y="557349"/>
                </a:lnTo>
                <a:lnTo>
                  <a:pt x="322217" y="0"/>
                </a:lnTo>
                <a:lnTo>
                  <a:pt x="8709" y="0"/>
                </a:lnTo>
                <a:lnTo>
                  <a:pt x="0" y="661852"/>
                </a:lnTo>
                <a:close/>
              </a:path>
            </a:pathLst>
          </a:custGeom>
          <a:solidFill>
            <a:srgbClr val="89D3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pic>
        <p:nvPicPr>
          <p:cNvPr id="1028" name="Picture 4" descr="KDC - Trends in Office Design Are Cyclical">
            <a:extLst>
              <a:ext uri="{FF2B5EF4-FFF2-40B4-BE49-F238E27FC236}">
                <a16:creationId xmlns:a16="http://schemas.microsoft.com/office/drawing/2014/main" id="{086D809B-CD5E-91B8-93CE-6B90CD48E902}"/>
              </a:ext>
            </a:extLst>
          </p:cNvPr>
          <p:cNvPicPr>
            <a:picLocks noChangeAspect="1" noChangeArrowheads="1"/>
          </p:cNvPicPr>
          <p:nvPr/>
        </p:nvPicPr>
        <p:blipFill rotWithShape="1">
          <a:blip r:embed="rId2">
            <a:clrChange>
              <a:clrFrom>
                <a:srgbClr val="FEFEFE"/>
              </a:clrFrom>
              <a:clrTo>
                <a:srgbClr val="FEFEFE">
                  <a:alpha val="0"/>
                </a:srgbClr>
              </a:clrTo>
            </a:clrChange>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l="3295" t="5532" r="4756" b="4446"/>
          <a:stretch/>
        </p:blipFill>
        <p:spPr bwMode="auto">
          <a:xfrm>
            <a:off x="4014651" y="1785257"/>
            <a:ext cx="4935514" cy="31263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71562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734BDC7-6FED-6D61-93E0-80716BD698E8}"/>
              </a:ext>
            </a:extLst>
          </p:cNvPr>
          <p:cNvSpPr>
            <a:spLocks noGrp="1"/>
          </p:cNvSpPr>
          <p:nvPr>
            <p:ph type="title"/>
          </p:nvPr>
        </p:nvSpPr>
        <p:spPr>
          <a:xfrm>
            <a:off x="245304" y="188640"/>
            <a:ext cx="11041821" cy="843880"/>
          </a:xfrm>
        </p:spPr>
        <p:txBody>
          <a:bodyPr anchor="ctr"/>
          <a:lstStyle/>
          <a:p>
            <a:pPr algn="l"/>
            <a:r>
              <a:rPr lang="en-US" sz="2800" b="0" dirty="0">
                <a:solidFill>
                  <a:srgbClr val="000000"/>
                </a:solidFill>
                <a:latin typeface="Avenir Next LT Pro Demi" panose="020B0704020202020204" pitchFamily="34" charset="0"/>
                <a:cs typeface="Arial" panose="020B0604020202020204" pitchFamily="34" charset="0"/>
              </a:rPr>
              <a:t>Summary</a:t>
            </a:r>
            <a:endParaRPr lang="en-CA" sz="2800" b="0" dirty="0">
              <a:latin typeface="Avenir Next LT Pro Demi" panose="020B0704020202020204" pitchFamily="34" charset="0"/>
            </a:endParaRPr>
          </a:p>
        </p:txBody>
      </p:sp>
      <p:sp>
        <p:nvSpPr>
          <p:cNvPr id="5" name="TextBox 4">
            <a:extLst>
              <a:ext uri="{FF2B5EF4-FFF2-40B4-BE49-F238E27FC236}">
                <a16:creationId xmlns:a16="http://schemas.microsoft.com/office/drawing/2014/main" id="{8450640E-C55C-5665-D2A3-49AF6FCFF2FC}"/>
              </a:ext>
            </a:extLst>
          </p:cNvPr>
          <p:cNvSpPr txBox="1"/>
          <p:nvPr/>
        </p:nvSpPr>
        <p:spPr>
          <a:xfrm>
            <a:off x="0" y="1032520"/>
            <a:ext cx="3707285" cy="4682480"/>
          </a:xfrm>
          <a:prstGeom prst="rect">
            <a:avLst/>
          </a:prstGeom>
          <a:solidFill>
            <a:srgbClr val="FFFFFF"/>
          </a:solidFill>
          <a:ln>
            <a:noFill/>
          </a:ln>
        </p:spPr>
        <p:txBody>
          <a:bodyPr wrap="square" lIns="360000" tIns="252000" rIns="360000" bIns="252000" rtlCol="0" anchor="ctr" anchorCtr="0">
            <a:noAutofit/>
          </a:bodyPr>
          <a:lstStyle/>
          <a:p>
            <a:pPr marL="0" marR="0" lvl="0" indent="0" algn="l" defTabSz="914400" rtl="0" eaLnBrk="1" fontAlgn="auto" latinLnBrk="0" hangingPunct="1">
              <a:lnSpc>
                <a:spcPts val="3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rPr>
              <a:t>Going unassigned in a hybrid work model is a great way to ensure office space is being used efficiently, BUT to ensure occupancy levels are managed as well as the employee’s workplace experience, booking strategies must align to each workplace type. </a:t>
            </a:r>
          </a:p>
        </p:txBody>
      </p:sp>
      <p:sp>
        <p:nvSpPr>
          <p:cNvPr id="6" name="Rectangle 5">
            <a:extLst>
              <a:ext uri="{FF2B5EF4-FFF2-40B4-BE49-F238E27FC236}">
                <a16:creationId xmlns:a16="http://schemas.microsoft.com/office/drawing/2014/main" id="{4BA3FBF8-77A8-C828-5034-32848704A02A}"/>
              </a:ext>
            </a:extLst>
          </p:cNvPr>
          <p:cNvSpPr/>
          <p:nvPr/>
        </p:nvSpPr>
        <p:spPr>
          <a:xfrm>
            <a:off x="3886201" y="1032519"/>
            <a:ext cx="8305800" cy="468247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srgbClr val="F1F2F2"/>
              </a:solidFill>
              <a:effectLst/>
              <a:uLnTx/>
              <a:uFillTx/>
              <a:latin typeface="Arial"/>
              <a:ea typeface="+mn-ea"/>
              <a:cs typeface="+mn-cs"/>
            </a:endParaRPr>
          </a:p>
        </p:txBody>
      </p:sp>
      <p:graphicFrame>
        <p:nvGraphicFramePr>
          <p:cNvPr id="2" name="Chart 1">
            <a:extLst>
              <a:ext uri="{FF2B5EF4-FFF2-40B4-BE49-F238E27FC236}">
                <a16:creationId xmlns:a16="http://schemas.microsoft.com/office/drawing/2014/main" id="{0E5B628E-FFFA-DA52-BF84-A8CCEDA22136}"/>
              </a:ext>
            </a:extLst>
          </p:cNvPr>
          <p:cNvGraphicFramePr/>
          <p:nvPr/>
        </p:nvGraphicFramePr>
        <p:xfrm>
          <a:off x="3501896" y="1912741"/>
          <a:ext cx="3846286" cy="2863910"/>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77F088CD-1502-7252-E959-9132A3DE0C6D}"/>
              </a:ext>
            </a:extLst>
          </p:cNvPr>
          <p:cNvSpPr txBox="1"/>
          <p:nvPr/>
        </p:nvSpPr>
        <p:spPr>
          <a:xfrm>
            <a:off x="8275861" y="2771663"/>
            <a:ext cx="321346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0070C0"/>
                </a:solidFill>
                <a:effectLst/>
                <a:uLnTx/>
                <a:uFillTx/>
                <a:latin typeface="Arial"/>
                <a:ea typeface="+mn-ea"/>
                <a:cs typeface="+mn-cs"/>
              </a:rPr>
              <a:t>Workplace 2.0</a:t>
            </a:r>
            <a:endParaRPr kumimoji="0" lang="en-CA" sz="1600" b="1" i="0" u="none" strike="noStrike" kern="1200" cap="none" spc="0" normalizeH="0" baseline="0" noProof="0" dirty="0">
              <a:ln>
                <a:noFill/>
              </a:ln>
              <a:solidFill>
                <a:srgbClr val="0070C0"/>
              </a:solidFill>
              <a:effectLst/>
              <a:uLnTx/>
              <a:uFillTx/>
              <a:latin typeface="Arial"/>
              <a:ea typeface="+mn-ea"/>
              <a:cs typeface="+mn-cs"/>
            </a:endParaRPr>
          </a:p>
        </p:txBody>
      </p:sp>
      <p:pic>
        <p:nvPicPr>
          <p:cNvPr id="7" name="Picture 6">
            <a:extLst>
              <a:ext uri="{FF2B5EF4-FFF2-40B4-BE49-F238E27FC236}">
                <a16:creationId xmlns:a16="http://schemas.microsoft.com/office/drawing/2014/main" id="{7AFC1A4B-7C6B-C78F-D409-706347B65E69}"/>
              </a:ext>
            </a:extLst>
          </p:cNvPr>
          <p:cNvPicPr>
            <a:picLocks noChangeAspect="1"/>
          </p:cNvPicPr>
          <p:nvPr/>
        </p:nvPicPr>
        <p:blipFill>
          <a:blip r:embed="rId3"/>
          <a:stretch>
            <a:fillRect/>
          </a:stretch>
        </p:blipFill>
        <p:spPr>
          <a:xfrm>
            <a:off x="8266171" y="1158235"/>
            <a:ext cx="1568531" cy="438173"/>
          </a:xfrm>
          <a:prstGeom prst="rect">
            <a:avLst/>
          </a:prstGeom>
        </p:spPr>
      </p:pic>
      <p:sp>
        <p:nvSpPr>
          <p:cNvPr id="8" name="TextBox 7">
            <a:extLst>
              <a:ext uri="{FF2B5EF4-FFF2-40B4-BE49-F238E27FC236}">
                <a16:creationId xmlns:a16="http://schemas.microsoft.com/office/drawing/2014/main" id="{6919B2BB-7985-3F56-71D8-C74DBD6B75DE}"/>
              </a:ext>
            </a:extLst>
          </p:cNvPr>
          <p:cNvSpPr txBox="1"/>
          <p:nvPr/>
        </p:nvSpPr>
        <p:spPr>
          <a:xfrm>
            <a:off x="7849142" y="4266447"/>
            <a:ext cx="321346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err="1">
                <a:ln>
                  <a:noFill/>
                </a:ln>
                <a:solidFill>
                  <a:srgbClr val="6C6E71"/>
                </a:solidFill>
                <a:effectLst/>
                <a:uLnTx/>
                <a:uFillTx/>
                <a:latin typeface="Arial"/>
                <a:ea typeface="+mn-ea"/>
                <a:cs typeface="+mn-cs"/>
              </a:rPr>
              <a:t>Traditional</a:t>
            </a:r>
            <a:r>
              <a:rPr kumimoji="0" lang="fr-CA" sz="1600" b="1" i="0" u="none" strike="noStrike" kern="1200" cap="none" spc="0" normalizeH="0" baseline="0" noProof="0" dirty="0">
                <a:ln>
                  <a:noFill/>
                </a:ln>
                <a:solidFill>
                  <a:srgbClr val="6C6E71"/>
                </a:solidFill>
                <a:effectLst/>
                <a:uLnTx/>
                <a:uFillTx/>
                <a:latin typeface="Arial"/>
                <a:ea typeface="+mn-ea"/>
                <a:cs typeface="+mn-cs"/>
              </a:rPr>
              <a:t> </a:t>
            </a:r>
            <a:r>
              <a:rPr kumimoji="0" lang="fr-CA" sz="1600" b="1" i="0" u="none" strike="noStrike" kern="1200" cap="none" spc="0" normalizeH="0" baseline="0" noProof="0" dirty="0" err="1">
                <a:ln>
                  <a:noFill/>
                </a:ln>
                <a:solidFill>
                  <a:srgbClr val="6C6E71"/>
                </a:solidFill>
                <a:effectLst/>
                <a:uLnTx/>
                <a:uFillTx/>
                <a:latin typeface="Arial"/>
                <a:ea typeface="+mn-ea"/>
                <a:cs typeface="+mn-cs"/>
              </a:rPr>
              <a:t>Workplaces</a:t>
            </a:r>
            <a:r>
              <a:rPr kumimoji="0" lang="fr-CA" sz="1600" b="1" i="0" u="none" strike="noStrike" kern="1200" cap="none" spc="0" normalizeH="0" baseline="0" noProof="0" dirty="0">
                <a:ln>
                  <a:noFill/>
                </a:ln>
                <a:solidFill>
                  <a:srgbClr val="6C6E71"/>
                </a:solidFill>
                <a:effectLst/>
                <a:uLnTx/>
                <a:uFillTx/>
                <a:latin typeface="Arial"/>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600" b="1" i="0" u="none" strike="noStrike" kern="1200" cap="none" spc="0" normalizeH="0" baseline="0" noProof="0" dirty="0">
              <a:ln>
                <a:noFill/>
              </a:ln>
              <a:solidFill>
                <a:srgbClr val="6C6E71"/>
              </a:solidFill>
              <a:effectLst/>
              <a:uLnTx/>
              <a:uFillTx/>
              <a:latin typeface="Arial"/>
              <a:ea typeface="+mn-ea"/>
              <a:cs typeface="+mn-cs"/>
            </a:endParaRPr>
          </a:p>
        </p:txBody>
      </p:sp>
      <p:sp>
        <p:nvSpPr>
          <p:cNvPr id="9" name="Rectangle 8">
            <a:extLst>
              <a:ext uri="{FF2B5EF4-FFF2-40B4-BE49-F238E27FC236}">
                <a16:creationId xmlns:a16="http://schemas.microsoft.com/office/drawing/2014/main" id="{C6E0ABE7-E86B-E0ED-04C5-8EEC64FC870A}"/>
              </a:ext>
            </a:extLst>
          </p:cNvPr>
          <p:cNvSpPr/>
          <p:nvPr/>
        </p:nvSpPr>
        <p:spPr>
          <a:xfrm>
            <a:off x="7128836" y="1586885"/>
            <a:ext cx="3933767" cy="957393"/>
          </a:xfrm>
          <a:prstGeom prst="rect">
            <a:avLst/>
          </a:prstGeom>
          <a:noFill/>
          <a:ln w="12700">
            <a:solidFill>
              <a:srgbClr val="C3D941"/>
            </a:solid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fr-CA" sz="1400" b="0" i="0" u="none" strike="noStrike" kern="1200" cap="none" spc="0" normalizeH="0" baseline="0" noProof="0" dirty="0" err="1">
                <a:ln>
                  <a:noFill/>
                </a:ln>
                <a:solidFill>
                  <a:srgbClr val="000000"/>
                </a:solidFill>
                <a:effectLst/>
                <a:uLnTx/>
                <a:uFillTx/>
                <a:latin typeface="Arial"/>
                <a:ea typeface="+mn-ea"/>
                <a:cs typeface="+mn-cs"/>
              </a:rPr>
              <a:t>Mostly</a:t>
            </a:r>
            <a:r>
              <a:rPr kumimoji="0" lang="fr-CA" sz="1400" b="0" i="0" u="none" strike="noStrike" kern="1200" cap="none" spc="0" normalizeH="0" baseline="0" noProof="0" dirty="0">
                <a:ln>
                  <a:noFill/>
                </a:ln>
                <a:solidFill>
                  <a:srgbClr val="000000"/>
                </a:solidFill>
                <a:effectLst/>
                <a:uLnTx/>
                <a:uFillTx/>
                <a:latin typeface="Arial"/>
                <a:ea typeface="+mn-ea"/>
                <a:cs typeface="+mn-cs"/>
              </a:rPr>
              <a:t> General Admission </a:t>
            </a:r>
            <a:r>
              <a:rPr kumimoji="0" lang="fr-CA" sz="1400" b="0" i="0" u="none" strike="noStrike" kern="1200" cap="none" spc="0" normalizeH="0" baseline="0" noProof="0" dirty="0" err="1">
                <a:ln>
                  <a:noFill/>
                </a:ln>
                <a:solidFill>
                  <a:srgbClr val="000000"/>
                </a:solidFill>
                <a:effectLst/>
                <a:uLnTx/>
                <a:uFillTx/>
                <a:latin typeface="Arial"/>
                <a:ea typeface="+mn-ea"/>
                <a:cs typeface="+mn-cs"/>
              </a:rPr>
              <a:t>booking</a:t>
            </a:r>
            <a:endParaRPr kumimoji="0" lang="fr-CA" sz="1400" b="0" i="0"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Meeting </a:t>
            </a:r>
            <a:r>
              <a:rPr kumimoji="0" lang="fr-CA" sz="1400" b="0" i="0" u="none" strike="noStrike" kern="1200" cap="none" spc="0" normalizeH="0" baseline="0" noProof="0" dirty="0" err="1">
                <a:ln>
                  <a:noFill/>
                </a:ln>
                <a:solidFill>
                  <a:srgbClr val="000000"/>
                </a:solidFill>
                <a:effectLst/>
                <a:uLnTx/>
                <a:uFillTx/>
                <a:latin typeface="Arial"/>
                <a:ea typeface="+mn-ea"/>
                <a:cs typeface="+mn-cs"/>
              </a:rPr>
              <a:t>rooms</a:t>
            </a:r>
            <a:r>
              <a:rPr kumimoji="0" lang="fr-CA" sz="1400" b="0" i="0" u="none" strike="noStrike" kern="1200" cap="none" spc="0" normalizeH="0" baseline="0" noProof="0" dirty="0">
                <a:ln>
                  <a:noFill/>
                </a:ln>
                <a:solidFill>
                  <a:srgbClr val="000000"/>
                </a:solidFill>
                <a:effectLst/>
                <a:uLnTx/>
                <a:uFillTx/>
                <a:latin typeface="Arial"/>
                <a:ea typeface="+mn-ea"/>
                <a:cs typeface="+mn-cs"/>
              </a:rPr>
              <a:t> </a:t>
            </a:r>
            <a:r>
              <a:rPr kumimoji="0" lang="fr-CA" sz="1400" b="0" i="0" u="none" strike="noStrike" kern="1200" cap="none" spc="0" normalizeH="0" baseline="0" noProof="0" dirty="0" err="1">
                <a:ln>
                  <a:noFill/>
                </a:ln>
                <a:solidFill>
                  <a:srgbClr val="000000"/>
                </a:solidFill>
                <a:effectLst/>
                <a:uLnTx/>
                <a:uFillTx/>
                <a:latin typeface="Arial"/>
                <a:ea typeface="+mn-ea"/>
                <a:cs typeface="+mn-cs"/>
              </a:rPr>
              <a:t>bookable</a:t>
            </a:r>
            <a:endParaRPr kumimoji="0" lang="fr-CA" sz="1400" b="0" i="0"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fr-CA" sz="1400" b="0" i="0" u="none" strike="noStrike" kern="1200" cap="none" spc="0" normalizeH="0" baseline="0" noProof="0" dirty="0" err="1">
                <a:ln>
                  <a:noFill/>
                </a:ln>
                <a:solidFill>
                  <a:srgbClr val="000000"/>
                </a:solidFill>
                <a:effectLst/>
                <a:uLnTx/>
                <a:uFillTx/>
                <a:latin typeface="Arial"/>
                <a:ea typeface="+mn-ea"/>
                <a:cs typeface="+mn-cs"/>
              </a:rPr>
              <a:t>Some</a:t>
            </a:r>
            <a:r>
              <a:rPr kumimoji="0" lang="fr-CA" sz="1400" b="0" i="0" u="none" strike="noStrike" kern="1200" cap="none" spc="0" normalizeH="0" baseline="0" noProof="0" dirty="0">
                <a:ln>
                  <a:noFill/>
                </a:ln>
                <a:solidFill>
                  <a:srgbClr val="000000"/>
                </a:solidFill>
                <a:effectLst/>
                <a:uLnTx/>
                <a:uFillTx/>
                <a:latin typeface="Arial"/>
                <a:ea typeface="+mn-ea"/>
                <a:cs typeface="+mn-cs"/>
              </a:rPr>
              <a:t> </a:t>
            </a:r>
            <a:r>
              <a:rPr kumimoji="0" lang="fr-CA" sz="1400" b="0" i="0" u="none" strike="noStrike" kern="1200" cap="none" spc="0" normalizeH="0" baseline="0" noProof="0" dirty="0" err="1">
                <a:ln>
                  <a:noFill/>
                </a:ln>
                <a:solidFill>
                  <a:srgbClr val="000000"/>
                </a:solidFill>
                <a:effectLst/>
                <a:uLnTx/>
                <a:uFillTx/>
                <a:latin typeface="Arial"/>
                <a:ea typeface="+mn-ea"/>
                <a:cs typeface="+mn-cs"/>
              </a:rPr>
              <a:t>specific</a:t>
            </a:r>
            <a:r>
              <a:rPr kumimoji="0" lang="fr-CA" sz="1400" b="0" i="0" u="none" strike="noStrike" kern="1200" cap="none" spc="0" normalizeH="0" baseline="0" noProof="0" dirty="0">
                <a:ln>
                  <a:noFill/>
                </a:ln>
                <a:solidFill>
                  <a:srgbClr val="000000"/>
                </a:solidFill>
                <a:effectLst/>
                <a:uLnTx/>
                <a:uFillTx/>
                <a:latin typeface="Arial"/>
                <a:ea typeface="+mn-ea"/>
                <a:cs typeface="+mn-cs"/>
              </a:rPr>
              <a:t> use workpoints </a:t>
            </a:r>
            <a:r>
              <a:rPr kumimoji="0" lang="fr-CA" sz="1400" b="0" i="0" u="none" strike="noStrike" kern="1200" cap="none" spc="0" normalizeH="0" baseline="0" noProof="0" dirty="0" err="1">
                <a:ln>
                  <a:noFill/>
                </a:ln>
                <a:solidFill>
                  <a:srgbClr val="000000"/>
                </a:solidFill>
                <a:effectLst/>
                <a:uLnTx/>
                <a:uFillTx/>
                <a:latin typeface="Arial"/>
                <a:ea typeface="+mn-ea"/>
                <a:cs typeface="+mn-cs"/>
              </a:rPr>
              <a:t>bookable</a:t>
            </a:r>
            <a:endParaRPr kumimoji="0" lang="en-CA"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0" name="Rectangle 9">
            <a:extLst>
              <a:ext uri="{FF2B5EF4-FFF2-40B4-BE49-F238E27FC236}">
                <a16:creationId xmlns:a16="http://schemas.microsoft.com/office/drawing/2014/main" id="{4CDD0FAA-179F-DAB8-E6A8-1B724634D0AD}"/>
              </a:ext>
            </a:extLst>
          </p:cNvPr>
          <p:cNvSpPr/>
          <p:nvPr/>
        </p:nvSpPr>
        <p:spPr>
          <a:xfrm>
            <a:off x="7128836" y="3070376"/>
            <a:ext cx="3933767" cy="957393"/>
          </a:xfrm>
          <a:prstGeom prst="rect">
            <a:avLst/>
          </a:prstGeom>
          <a:noFill/>
          <a:ln w="127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Mix of General Admission and </a:t>
            </a:r>
            <a:r>
              <a:rPr kumimoji="0" lang="fr-CA" sz="1400" b="0" i="0" u="none" strike="noStrike" kern="1200" cap="none" spc="0" normalizeH="0" baseline="0" noProof="0" dirty="0" err="1">
                <a:ln>
                  <a:noFill/>
                </a:ln>
                <a:solidFill>
                  <a:srgbClr val="000000"/>
                </a:solidFill>
                <a:effectLst/>
                <a:uLnTx/>
                <a:uFillTx/>
                <a:latin typeface="Arial"/>
                <a:ea typeface="+mn-ea"/>
                <a:cs typeface="+mn-cs"/>
              </a:rPr>
              <a:t>bookable</a:t>
            </a:r>
            <a:r>
              <a:rPr kumimoji="0" lang="fr-CA" sz="1400" b="0" i="0" u="none" strike="noStrike" kern="1200" cap="none" spc="0" normalizeH="0" baseline="0" noProof="0" dirty="0">
                <a:ln>
                  <a:noFill/>
                </a:ln>
                <a:solidFill>
                  <a:srgbClr val="000000"/>
                </a:solidFill>
                <a:effectLst/>
                <a:uLnTx/>
                <a:uFillTx/>
                <a:latin typeface="Arial"/>
                <a:ea typeface="+mn-ea"/>
                <a:cs typeface="+mn-cs"/>
              </a:rPr>
              <a:t> </a:t>
            </a:r>
            <a:r>
              <a:rPr kumimoji="0" lang="fr-CA" sz="1400" b="0" i="0" u="none" strike="noStrike" kern="1200" cap="none" spc="0" normalizeH="0" baseline="0" noProof="0" dirty="0" err="1">
                <a:ln>
                  <a:noFill/>
                </a:ln>
                <a:solidFill>
                  <a:srgbClr val="000000"/>
                </a:solidFill>
                <a:effectLst/>
                <a:uLnTx/>
                <a:uFillTx/>
                <a:latin typeface="Arial"/>
                <a:ea typeface="+mn-ea"/>
                <a:cs typeface="+mn-cs"/>
              </a:rPr>
              <a:t>workstations</a:t>
            </a:r>
            <a:endParaRPr kumimoji="0" lang="fr-CA" sz="1400" b="0" i="0"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Meeting </a:t>
            </a:r>
            <a:r>
              <a:rPr kumimoji="0" lang="fr-CA" sz="1400" b="0" i="0" u="none" strike="noStrike" kern="1200" cap="none" spc="0" normalizeH="0" baseline="0" noProof="0" dirty="0" err="1">
                <a:ln>
                  <a:noFill/>
                </a:ln>
                <a:solidFill>
                  <a:srgbClr val="000000"/>
                </a:solidFill>
                <a:effectLst/>
                <a:uLnTx/>
                <a:uFillTx/>
                <a:latin typeface="Arial"/>
                <a:ea typeface="+mn-ea"/>
                <a:cs typeface="+mn-cs"/>
              </a:rPr>
              <a:t>rooms</a:t>
            </a:r>
            <a:r>
              <a:rPr kumimoji="0" lang="fr-CA" sz="1400" b="0" i="0" u="none" strike="noStrike" kern="1200" cap="none" spc="0" normalizeH="0" baseline="0" noProof="0" dirty="0">
                <a:ln>
                  <a:noFill/>
                </a:ln>
                <a:solidFill>
                  <a:srgbClr val="000000"/>
                </a:solidFill>
                <a:effectLst/>
                <a:uLnTx/>
                <a:uFillTx/>
                <a:latin typeface="Arial"/>
                <a:ea typeface="+mn-ea"/>
                <a:cs typeface="+mn-cs"/>
              </a:rPr>
              <a:t> and </a:t>
            </a:r>
            <a:r>
              <a:rPr kumimoji="0" lang="fr-CA" sz="1400" b="0" i="0" u="none" strike="noStrike" kern="1200" cap="none" spc="0" normalizeH="0" baseline="0" noProof="0" dirty="0" err="1">
                <a:ln>
                  <a:noFill/>
                </a:ln>
                <a:solidFill>
                  <a:srgbClr val="000000"/>
                </a:solidFill>
                <a:effectLst/>
                <a:uLnTx/>
                <a:uFillTx/>
                <a:latin typeface="Arial"/>
                <a:ea typeface="+mn-ea"/>
                <a:cs typeface="+mn-cs"/>
              </a:rPr>
              <a:t>specific</a:t>
            </a:r>
            <a:r>
              <a:rPr kumimoji="0" lang="fr-CA" sz="1400" b="0" i="0" u="none" strike="noStrike" kern="1200" cap="none" spc="0" normalizeH="0" baseline="0" noProof="0" dirty="0">
                <a:ln>
                  <a:noFill/>
                </a:ln>
                <a:solidFill>
                  <a:srgbClr val="000000"/>
                </a:solidFill>
                <a:effectLst/>
                <a:uLnTx/>
                <a:uFillTx/>
                <a:latin typeface="Arial"/>
                <a:ea typeface="+mn-ea"/>
                <a:cs typeface="+mn-cs"/>
              </a:rPr>
              <a:t> use </a:t>
            </a:r>
            <a:r>
              <a:rPr kumimoji="0" lang="fr-CA" sz="1400" b="0" i="0" u="none" strike="noStrike" kern="1200" cap="none" spc="0" normalizeH="0" baseline="0" noProof="0" dirty="0" err="1">
                <a:ln>
                  <a:noFill/>
                </a:ln>
                <a:solidFill>
                  <a:srgbClr val="000000"/>
                </a:solidFill>
                <a:effectLst/>
                <a:uLnTx/>
                <a:uFillTx/>
                <a:latin typeface="Arial"/>
                <a:ea typeface="+mn-ea"/>
                <a:cs typeface="+mn-cs"/>
              </a:rPr>
              <a:t>bookable</a:t>
            </a:r>
            <a:endParaRPr kumimoji="0" lang="en-CA"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827B59E4-B0AE-55C9-B564-41192761F062}"/>
              </a:ext>
            </a:extLst>
          </p:cNvPr>
          <p:cNvSpPr/>
          <p:nvPr/>
        </p:nvSpPr>
        <p:spPr>
          <a:xfrm>
            <a:off x="7128836" y="4568888"/>
            <a:ext cx="3933767" cy="957393"/>
          </a:xfrm>
          <a:prstGeom prst="rect">
            <a:avLst/>
          </a:prstGeom>
          <a:noFill/>
          <a:ln w="12700">
            <a:solidFill>
              <a:srgbClr val="B2B8B8"/>
            </a:solid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Book a </a:t>
            </a:r>
            <a:r>
              <a:rPr kumimoji="0" lang="fr-CA" sz="1400" b="0" i="0" u="none" strike="noStrike" kern="1200" cap="none" spc="0" normalizeH="0" baseline="0" noProof="0" dirty="0" err="1">
                <a:ln>
                  <a:noFill/>
                </a:ln>
                <a:solidFill>
                  <a:srgbClr val="000000"/>
                </a:solidFill>
                <a:effectLst/>
                <a:uLnTx/>
                <a:uFillTx/>
                <a:latin typeface="Arial"/>
                <a:ea typeface="+mn-ea"/>
                <a:cs typeface="+mn-cs"/>
              </a:rPr>
              <a:t>workstation</a:t>
            </a:r>
            <a:r>
              <a:rPr kumimoji="0" lang="fr-CA" sz="1400" b="0" i="0" u="none" strike="noStrike" kern="1200" cap="none" spc="0" normalizeH="0" baseline="0" noProof="0" dirty="0">
                <a:ln>
                  <a:noFill/>
                </a:ln>
                <a:solidFill>
                  <a:srgbClr val="000000"/>
                </a:solidFill>
                <a:effectLst/>
                <a:uLnTx/>
                <a:uFillTx/>
                <a:latin typeface="Arial"/>
                <a:ea typeface="+mn-ea"/>
                <a:cs typeface="+mn-cs"/>
              </a:rPr>
              <a:t> for the </a:t>
            </a:r>
            <a:r>
              <a:rPr kumimoji="0" lang="fr-CA" sz="1400" b="0" i="0" u="none" strike="noStrike" kern="1200" cap="none" spc="0" normalizeH="0" baseline="0" noProof="0" dirty="0" err="1">
                <a:ln>
                  <a:noFill/>
                </a:ln>
                <a:solidFill>
                  <a:srgbClr val="000000"/>
                </a:solidFill>
                <a:effectLst/>
                <a:uLnTx/>
                <a:uFillTx/>
                <a:latin typeface="Arial"/>
                <a:ea typeface="+mn-ea"/>
                <a:cs typeface="+mn-cs"/>
              </a:rPr>
              <a:t>day</a:t>
            </a:r>
            <a:endParaRPr kumimoji="0" lang="fr-CA" sz="1400" b="0" i="0"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Meeting </a:t>
            </a:r>
            <a:r>
              <a:rPr kumimoji="0" lang="fr-CA" sz="1400" b="0" i="0" u="none" strike="noStrike" kern="1200" cap="none" spc="0" normalizeH="0" baseline="0" noProof="0" dirty="0" err="1">
                <a:ln>
                  <a:noFill/>
                </a:ln>
                <a:solidFill>
                  <a:srgbClr val="000000"/>
                </a:solidFill>
                <a:effectLst/>
                <a:uLnTx/>
                <a:uFillTx/>
                <a:latin typeface="Arial"/>
                <a:ea typeface="+mn-ea"/>
                <a:cs typeface="+mn-cs"/>
              </a:rPr>
              <a:t>rooms</a:t>
            </a:r>
            <a:r>
              <a:rPr kumimoji="0" lang="fr-CA" sz="1400" b="0" i="0" u="none" strike="noStrike" kern="1200" cap="none" spc="0" normalizeH="0" baseline="0" noProof="0" dirty="0">
                <a:ln>
                  <a:noFill/>
                </a:ln>
                <a:solidFill>
                  <a:srgbClr val="000000"/>
                </a:solidFill>
                <a:effectLst/>
                <a:uLnTx/>
                <a:uFillTx/>
                <a:latin typeface="Arial"/>
                <a:ea typeface="+mn-ea"/>
                <a:cs typeface="+mn-cs"/>
              </a:rPr>
              <a:t> and </a:t>
            </a:r>
            <a:r>
              <a:rPr kumimoji="0" lang="fr-CA" sz="1400" b="0" i="0" u="none" strike="noStrike" kern="1200" cap="none" spc="0" normalizeH="0" baseline="0" noProof="0" dirty="0" err="1">
                <a:ln>
                  <a:noFill/>
                </a:ln>
                <a:solidFill>
                  <a:srgbClr val="000000"/>
                </a:solidFill>
                <a:effectLst/>
                <a:uLnTx/>
                <a:uFillTx/>
                <a:latin typeface="Arial"/>
                <a:ea typeface="+mn-ea"/>
                <a:cs typeface="+mn-cs"/>
              </a:rPr>
              <a:t>specific</a:t>
            </a:r>
            <a:r>
              <a:rPr kumimoji="0" lang="fr-CA" sz="1400" b="0" i="0" u="none" strike="noStrike" kern="1200" cap="none" spc="0" normalizeH="0" baseline="0" noProof="0" dirty="0">
                <a:ln>
                  <a:noFill/>
                </a:ln>
                <a:solidFill>
                  <a:srgbClr val="000000"/>
                </a:solidFill>
                <a:effectLst/>
                <a:uLnTx/>
                <a:uFillTx/>
                <a:latin typeface="Arial"/>
                <a:ea typeface="+mn-ea"/>
                <a:cs typeface="+mn-cs"/>
              </a:rPr>
              <a:t> use </a:t>
            </a:r>
            <a:r>
              <a:rPr kumimoji="0" lang="fr-CA" sz="1400" b="0" i="0" u="none" strike="noStrike" kern="1200" cap="none" spc="0" normalizeH="0" baseline="0" noProof="0" dirty="0" err="1">
                <a:ln>
                  <a:noFill/>
                </a:ln>
                <a:solidFill>
                  <a:srgbClr val="000000"/>
                </a:solidFill>
                <a:effectLst/>
                <a:uLnTx/>
                <a:uFillTx/>
                <a:latin typeface="Arial"/>
                <a:ea typeface="+mn-ea"/>
                <a:cs typeface="+mn-cs"/>
              </a:rPr>
              <a:t>bookable</a:t>
            </a:r>
            <a:endParaRPr kumimoji="0" lang="en-CA" sz="14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20" name="Straight Connector 19">
            <a:extLst>
              <a:ext uri="{FF2B5EF4-FFF2-40B4-BE49-F238E27FC236}">
                <a16:creationId xmlns:a16="http://schemas.microsoft.com/office/drawing/2014/main" id="{42B22CCC-B0F8-4F86-5E51-410BEB6F245A}"/>
              </a:ext>
            </a:extLst>
          </p:cNvPr>
          <p:cNvCxnSpPr>
            <a:cxnSpLocks/>
            <a:endCxn id="11" idx="1"/>
          </p:cNvCxnSpPr>
          <p:nvPr/>
        </p:nvCxnSpPr>
        <p:spPr>
          <a:xfrm>
            <a:off x="5677989" y="3788421"/>
            <a:ext cx="1450847" cy="1259164"/>
          </a:xfrm>
          <a:prstGeom prst="line">
            <a:avLst/>
          </a:prstGeom>
          <a:ln>
            <a:solidFill>
              <a:srgbClr val="B2B8B8"/>
            </a:solidFill>
          </a:ln>
        </p:spPr>
        <p:style>
          <a:lnRef idx="1">
            <a:schemeClr val="accent1"/>
          </a:lnRef>
          <a:fillRef idx="0">
            <a:schemeClr val="accent1"/>
          </a:fillRef>
          <a:effectRef idx="0">
            <a:schemeClr val="accent1"/>
          </a:effectRef>
          <a:fontRef idx="minor">
            <a:schemeClr val="tx1"/>
          </a:fontRef>
        </p:style>
      </p:cxnSp>
      <p:graphicFrame>
        <p:nvGraphicFramePr>
          <p:cNvPr id="23" name="Chart 22">
            <a:extLst>
              <a:ext uri="{FF2B5EF4-FFF2-40B4-BE49-F238E27FC236}">
                <a16:creationId xmlns:a16="http://schemas.microsoft.com/office/drawing/2014/main" id="{9CC73287-A8F4-E9EF-5E23-38FECB69EC84}"/>
              </a:ext>
            </a:extLst>
          </p:cNvPr>
          <p:cNvGraphicFramePr/>
          <p:nvPr/>
        </p:nvGraphicFramePr>
        <p:xfrm>
          <a:off x="3577676" y="1941805"/>
          <a:ext cx="3846286" cy="2863910"/>
        </p:xfrm>
        <a:graphic>
          <a:graphicData uri="http://schemas.openxmlformats.org/drawingml/2006/chart">
            <c:chart xmlns:c="http://schemas.openxmlformats.org/drawingml/2006/chart" xmlns:r="http://schemas.openxmlformats.org/officeDocument/2006/relationships" r:id="rId4"/>
          </a:graphicData>
        </a:graphic>
      </p:graphicFrame>
      <p:cxnSp>
        <p:nvCxnSpPr>
          <p:cNvPr id="16" name="Straight Connector 15">
            <a:extLst>
              <a:ext uri="{FF2B5EF4-FFF2-40B4-BE49-F238E27FC236}">
                <a16:creationId xmlns:a16="http://schemas.microsoft.com/office/drawing/2014/main" id="{B8F92400-CC2E-960A-EF5C-0B4C4F0FF46B}"/>
              </a:ext>
            </a:extLst>
          </p:cNvPr>
          <p:cNvCxnSpPr>
            <a:cxnSpLocks/>
            <a:endCxn id="10" idx="1"/>
          </p:cNvCxnSpPr>
          <p:nvPr/>
        </p:nvCxnSpPr>
        <p:spPr>
          <a:xfrm>
            <a:off x="5590903" y="2529257"/>
            <a:ext cx="1537933" cy="1019816"/>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D5F68FF-CBEC-67B8-10F8-32DD2BC92A66}"/>
              </a:ext>
            </a:extLst>
          </p:cNvPr>
          <p:cNvCxnSpPr>
            <a:cxnSpLocks/>
            <a:endCxn id="9" idx="1"/>
          </p:cNvCxnSpPr>
          <p:nvPr/>
        </p:nvCxnSpPr>
        <p:spPr>
          <a:xfrm flipV="1">
            <a:off x="5425039" y="2065582"/>
            <a:ext cx="1703797" cy="224327"/>
          </a:xfrm>
          <a:prstGeom prst="line">
            <a:avLst/>
          </a:prstGeom>
          <a:ln>
            <a:solidFill>
              <a:srgbClr val="C3D94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54009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Box 31">
            <a:extLst>
              <a:ext uri="{FF2B5EF4-FFF2-40B4-BE49-F238E27FC236}">
                <a16:creationId xmlns:a16="http://schemas.microsoft.com/office/drawing/2014/main" id="{5E540FF0-2821-C44F-6314-6A50A173AE93}"/>
              </a:ext>
            </a:extLst>
          </p:cNvPr>
          <p:cNvSpPr txBox="1"/>
          <p:nvPr/>
        </p:nvSpPr>
        <p:spPr>
          <a:xfrm>
            <a:off x="0" y="1032520"/>
            <a:ext cx="12192000" cy="4682480"/>
          </a:xfrm>
          <a:prstGeom prst="rect">
            <a:avLst/>
          </a:prstGeom>
          <a:solidFill>
            <a:srgbClr val="FFFFFF"/>
          </a:solidFill>
          <a:ln>
            <a:noFill/>
          </a:ln>
        </p:spPr>
        <p:txBody>
          <a:bodyPr wrap="square" lIns="360000" tIns="252000" rIns="360000" bIns="252000" rtlCol="0" anchor="ctr" anchorCtr="0">
            <a:noAutofit/>
          </a:bodyPr>
          <a:lstStyle/>
          <a:p>
            <a:pPr marL="0" marR="0" lvl="0" indent="0" algn="l" defTabSz="914400" rtl="0" eaLnBrk="0" fontAlgn="base" latinLnBrk="0" hangingPunct="0">
              <a:lnSpc>
                <a:spcPts val="3000"/>
              </a:lnSpc>
              <a:spcBef>
                <a:spcPct val="0"/>
              </a:spcBef>
              <a:spcAft>
                <a:spcPct val="0"/>
              </a:spcAft>
              <a:buClrTx/>
              <a:buSzTx/>
              <a:buFontTx/>
              <a:buNone/>
              <a:tabLst/>
              <a:defRPr/>
            </a:pPr>
            <a:endParaRPr kumimoji="0" lang="en-CA" sz="18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endParaRPr>
          </a:p>
        </p:txBody>
      </p:sp>
      <p:sp>
        <p:nvSpPr>
          <p:cNvPr id="4" name="Title 1">
            <a:extLst>
              <a:ext uri="{FF2B5EF4-FFF2-40B4-BE49-F238E27FC236}">
                <a16:creationId xmlns:a16="http://schemas.microsoft.com/office/drawing/2014/main" id="{202D0FFC-6E95-21D5-80CD-54DD3E399591}"/>
              </a:ext>
            </a:extLst>
          </p:cNvPr>
          <p:cNvSpPr txBox="1">
            <a:spLocks/>
          </p:cNvSpPr>
          <p:nvPr/>
        </p:nvSpPr>
        <p:spPr>
          <a:xfrm>
            <a:off x="528638" y="1822564"/>
            <a:ext cx="11115674" cy="1247775"/>
          </a:xfrm>
          <a:prstGeom prst="rect">
            <a:avLst/>
          </a:prstGeom>
          <a:noFill/>
        </p:spPr>
        <p:txBody>
          <a:bodyPr vert="horz" lIns="91440" tIns="45720" rIns="91440" bIns="45720" rtlCol="0" anchor="b">
            <a:normAutofit/>
          </a:bodyPr>
          <a:lstStyle>
            <a:lvl1pPr algn="l" defTabSz="914400" rtl="0" eaLnBrk="1" latinLnBrk="0" hangingPunct="1">
              <a:lnSpc>
                <a:spcPct val="9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800" b="1" i="0" u="none" strike="noStrike" kern="1200" cap="none" spc="0" normalizeH="0" baseline="0" noProof="0">
                <a:ln>
                  <a:noFill/>
                </a:ln>
                <a:solidFill>
                  <a:srgbClr val="4CB6A0"/>
                </a:solidFill>
                <a:effectLst/>
                <a:uLnTx/>
                <a:uFillTx/>
                <a:latin typeface="Arial" panose="020B0604020202020204" pitchFamily="34" charset="0"/>
                <a:ea typeface="+mj-ea"/>
                <a:cs typeface="Arial" panose="020B0604020202020204" pitchFamily="34" charset="0"/>
              </a:rPr>
              <a:t>Q &amp; A</a:t>
            </a:r>
            <a:endParaRPr kumimoji="0" lang="en-US" sz="4800" b="1" i="0" u="none" strike="noStrike" kern="1200" cap="none" spc="0" normalizeH="0" baseline="0" noProof="0" dirty="0">
              <a:ln>
                <a:noFill/>
              </a:ln>
              <a:solidFill>
                <a:srgbClr val="4CB6A0"/>
              </a:solidFill>
              <a:effectLst/>
              <a:uLnTx/>
              <a:uFillTx/>
              <a:latin typeface="Arial" panose="020B0604020202020204" pitchFamily="34" charset="0"/>
              <a:ea typeface="+mj-ea"/>
              <a:cs typeface="Arial" panose="020B0604020202020204" pitchFamily="34" charset="0"/>
            </a:endParaRPr>
          </a:p>
        </p:txBody>
      </p:sp>
      <p:sp>
        <p:nvSpPr>
          <p:cNvPr id="5" name="TextBox 4">
            <a:extLst>
              <a:ext uri="{FF2B5EF4-FFF2-40B4-BE49-F238E27FC236}">
                <a16:creationId xmlns:a16="http://schemas.microsoft.com/office/drawing/2014/main" id="{3C1ED866-B109-2C91-7AA9-F79A246E651A}"/>
              </a:ext>
            </a:extLst>
          </p:cNvPr>
          <p:cNvSpPr txBox="1"/>
          <p:nvPr/>
        </p:nvSpPr>
        <p:spPr>
          <a:xfrm>
            <a:off x="528638" y="3315826"/>
            <a:ext cx="5058080" cy="118494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E7E6E6">
                    <a:lumMod val="50000"/>
                  </a:srgbClr>
                </a:solidFill>
                <a:effectLst/>
                <a:uLnTx/>
                <a:uFillTx/>
                <a:latin typeface="Calibri"/>
                <a:ea typeface="+mn-ea"/>
                <a:cs typeface="+mn-cs"/>
              </a:rPr>
              <a:t>Strategic Workplace Advisory Group (</a:t>
            </a:r>
            <a:r>
              <a:rPr kumimoji="0" lang="en-US" sz="1600" b="0" i="1" u="none" strike="noStrike" kern="1200" cap="none" spc="0" normalizeH="0" baseline="0" noProof="0" dirty="0">
                <a:ln>
                  <a:noFill/>
                </a:ln>
                <a:solidFill>
                  <a:srgbClr val="E7E6E6">
                    <a:lumMod val="50000"/>
                  </a:srgbClr>
                </a:solidFill>
                <a:effectLst/>
                <a:uLnTx/>
                <a:uFillTx/>
                <a:latin typeface="Calibri"/>
                <a:ea typeface="+mn-ea"/>
                <a:cs typeface="+mn-cs"/>
              </a:rPr>
              <a:t>SWAG</a:t>
            </a:r>
            <a:r>
              <a:rPr kumimoji="0" lang="en-US" sz="1600" b="0" i="0" u="none" strike="noStrike" kern="1200" cap="none" spc="0" normalizeH="0" baseline="0" noProof="0" dirty="0">
                <a:ln>
                  <a:noFill/>
                </a:ln>
                <a:solidFill>
                  <a:srgbClr val="E7E6E6">
                    <a:lumMod val="50000"/>
                  </a:srgbClr>
                </a:solidFill>
                <a:effectLst/>
                <a:uLnTx/>
                <a:uFillTx/>
                <a:latin typeface="Calibri"/>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E7E6E6">
                  <a:lumMod val="50000"/>
                </a:srgbClr>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E7E6E6">
                    <a:lumMod val="50000"/>
                  </a:srgbClr>
                </a:solidFill>
                <a:effectLst/>
                <a:uLnTx/>
                <a:uFillTx/>
                <a:latin typeface="Calibri"/>
                <a:ea typeface="+mn-ea"/>
                <a:cs typeface="+mn-cs"/>
              </a:rPr>
              <a:t>Accommodation Management &amp; Workplace Solu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E7E6E6">
                    <a:lumMod val="50000"/>
                  </a:srgbClr>
                </a:solidFill>
                <a:effectLst/>
                <a:uLnTx/>
                <a:uFillTx/>
                <a:latin typeface="Calibri"/>
                <a:ea typeface="+mn-ea"/>
                <a:cs typeface="+mn-cs"/>
              </a:rPr>
              <a:t>Public Services and Procurement Canada</a:t>
            </a:r>
            <a:endParaRPr kumimoji="0" lang="en-US" sz="16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4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31049943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734BDC7-6FED-6D61-93E0-80716BD698E8}"/>
              </a:ext>
            </a:extLst>
          </p:cNvPr>
          <p:cNvSpPr>
            <a:spLocks noGrp="1"/>
          </p:cNvSpPr>
          <p:nvPr>
            <p:ph type="title"/>
          </p:nvPr>
        </p:nvSpPr>
        <p:spPr>
          <a:xfrm>
            <a:off x="245304" y="188640"/>
            <a:ext cx="11041821" cy="843880"/>
          </a:xfrm>
        </p:spPr>
        <p:txBody>
          <a:bodyPr anchor="ctr"/>
          <a:lstStyle/>
          <a:p>
            <a:pPr algn="l"/>
            <a:r>
              <a:rPr lang="en-US" sz="2800" b="0" dirty="0">
                <a:solidFill>
                  <a:srgbClr val="000000"/>
                </a:solidFill>
                <a:latin typeface="Avenir Next LT Pro Demi" panose="020B0704020202020204" pitchFamily="34" charset="0"/>
                <a:cs typeface="Arial" panose="020B0604020202020204" pitchFamily="34" charset="0"/>
              </a:rPr>
              <a:t>Hybrid Work Models &amp; Workplace Utilization</a:t>
            </a:r>
            <a:endParaRPr lang="en-CA" sz="2800" b="0" dirty="0">
              <a:latin typeface="Avenir Next LT Pro Demi" panose="020B0704020202020204" pitchFamily="34" charset="0"/>
            </a:endParaRPr>
          </a:p>
        </p:txBody>
      </p:sp>
      <p:sp>
        <p:nvSpPr>
          <p:cNvPr id="5" name="TextBox 4">
            <a:extLst>
              <a:ext uri="{FF2B5EF4-FFF2-40B4-BE49-F238E27FC236}">
                <a16:creationId xmlns:a16="http://schemas.microsoft.com/office/drawing/2014/main" id="{8450640E-C55C-5665-D2A3-49AF6FCFF2FC}"/>
              </a:ext>
            </a:extLst>
          </p:cNvPr>
          <p:cNvSpPr txBox="1"/>
          <p:nvPr/>
        </p:nvSpPr>
        <p:spPr>
          <a:xfrm>
            <a:off x="0" y="1032520"/>
            <a:ext cx="3707285" cy="4682480"/>
          </a:xfrm>
          <a:prstGeom prst="rect">
            <a:avLst/>
          </a:prstGeom>
          <a:solidFill>
            <a:srgbClr val="FFFFFF"/>
          </a:solidFill>
          <a:ln>
            <a:noFill/>
          </a:ln>
        </p:spPr>
        <p:txBody>
          <a:bodyPr wrap="square" lIns="360000" tIns="252000" rIns="360000" bIns="252000" rtlCol="0" anchor="ctr" anchorCtr="0">
            <a:noAutofit/>
          </a:bodyPr>
          <a:lstStyle/>
          <a:p>
            <a:pPr marL="0" marR="0" lvl="0" indent="0" algn="l" defTabSz="914400" rtl="0" eaLnBrk="0" fontAlgn="base" latinLnBrk="0" hangingPunct="0">
              <a:lnSpc>
                <a:spcPts val="3000"/>
              </a:lnSpc>
              <a:spcBef>
                <a:spcPct val="0"/>
              </a:spcBef>
              <a:spcAft>
                <a:spcPct val="0"/>
              </a:spcAft>
              <a:buClrTx/>
              <a:buSzTx/>
              <a:buFontTx/>
              <a:buNone/>
              <a:tabLst/>
              <a:defRPr/>
            </a:pPr>
            <a:r>
              <a:rPr kumimoji="0" lang="en-CA" sz="18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rPr>
              <a:t>In the context of a hybrid work model, to ensure efficient use of office space or to accommodate recent growth, many departments are looking to adopt an unassigned workplace utilization for the return to office.</a:t>
            </a:r>
          </a:p>
        </p:txBody>
      </p:sp>
      <p:sp>
        <p:nvSpPr>
          <p:cNvPr id="6" name="Rectangle 5">
            <a:extLst>
              <a:ext uri="{FF2B5EF4-FFF2-40B4-BE49-F238E27FC236}">
                <a16:creationId xmlns:a16="http://schemas.microsoft.com/office/drawing/2014/main" id="{4BA3FBF8-77A8-C828-5034-32848704A02A}"/>
              </a:ext>
            </a:extLst>
          </p:cNvPr>
          <p:cNvSpPr/>
          <p:nvPr/>
        </p:nvSpPr>
        <p:spPr>
          <a:xfrm>
            <a:off x="3886201" y="1032519"/>
            <a:ext cx="8305800" cy="468247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srgbClr val="F1F2F2"/>
              </a:solidFill>
              <a:effectLst/>
              <a:uLnTx/>
              <a:uFillTx/>
              <a:latin typeface="Arial"/>
              <a:ea typeface="+mn-ea"/>
              <a:cs typeface="+mn-cs"/>
            </a:endParaRPr>
          </a:p>
        </p:txBody>
      </p:sp>
      <p:sp>
        <p:nvSpPr>
          <p:cNvPr id="2" name="Rectangle 1">
            <a:extLst>
              <a:ext uri="{FF2B5EF4-FFF2-40B4-BE49-F238E27FC236}">
                <a16:creationId xmlns:a16="http://schemas.microsoft.com/office/drawing/2014/main" id="{0E54B97B-D3AB-BC5B-3CF6-417F08024C17}"/>
              </a:ext>
            </a:extLst>
          </p:cNvPr>
          <p:cNvSpPr/>
          <p:nvPr/>
        </p:nvSpPr>
        <p:spPr>
          <a:xfrm>
            <a:off x="4221794" y="2456246"/>
            <a:ext cx="2316660" cy="1446550"/>
          </a:xfrm>
          <a:prstGeom prst="rect">
            <a:avLst/>
          </a:prstGeom>
          <a:noFill/>
        </p:spPr>
        <p:txBody>
          <a:bodyPr wrap="none" lIns="91440" tIns="45720" rIns="91440" bIns="45720">
            <a:spAutoFit/>
          </a:bodyPr>
          <a:lstStyle/>
          <a:p>
            <a:pPr algn="ctr"/>
            <a:r>
              <a:rPr lang="en-US" sz="4400" dirty="0">
                <a:ln w="0"/>
                <a:solidFill>
                  <a:srgbClr val="2C6A3F"/>
                </a:solidFill>
                <a:effectLst>
                  <a:outerShdw blurRad="38100" dist="19050" dir="2700000" algn="tl" rotWithShape="0">
                    <a:schemeClr val="dk1">
                      <a:alpha val="40000"/>
                    </a:schemeClr>
                  </a:outerShdw>
                </a:effectLst>
              </a:rPr>
              <a:t>HYBRID</a:t>
            </a:r>
            <a:br>
              <a:rPr lang="en-US" sz="4400" dirty="0">
                <a:ln w="0"/>
                <a:solidFill>
                  <a:srgbClr val="2C6A3F"/>
                </a:solidFill>
                <a:effectLst>
                  <a:outerShdw blurRad="38100" dist="19050" dir="2700000" algn="tl" rotWithShape="0">
                    <a:schemeClr val="dk1">
                      <a:alpha val="40000"/>
                    </a:schemeClr>
                  </a:outerShdw>
                </a:effectLst>
              </a:rPr>
            </a:br>
            <a:r>
              <a:rPr lang="en-US" sz="4400" dirty="0">
                <a:ln w="0"/>
                <a:solidFill>
                  <a:srgbClr val="2C6A3F"/>
                </a:solidFill>
                <a:effectLst>
                  <a:outerShdw blurRad="38100" dist="19050" dir="2700000" algn="tl" rotWithShape="0">
                    <a:schemeClr val="dk1">
                      <a:alpha val="40000"/>
                    </a:schemeClr>
                  </a:outerShdw>
                </a:effectLst>
              </a:rPr>
              <a:t>WORK</a:t>
            </a:r>
          </a:p>
        </p:txBody>
      </p:sp>
      <p:sp>
        <p:nvSpPr>
          <p:cNvPr id="3" name="Rectangle 2">
            <a:extLst>
              <a:ext uri="{FF2B5EF4-FFF2-40B4-BE49-F238E27FC236}">
                <a16:creationId xmlns:a16="http://schemas.microsoft.com/office/drawing/2014/main" id="{1F7CBD12-4657-97B2-EEB5-AB2FED98D712}"/>
              </a:ext>
            </a:extLst>
          </p:cNvPr>
          <p:cNvSpPr/>
          <p:nvPr/>
        </p:nvSpPr>
        <p:spPr>
          <a:xfrm>
            <a:off x="7297380" y="2487022"/>
            <a:ext cx="2557110" cy="1384995"/>
          </a:xfrm>
          <a:prstGeom prst="rect">
            <a:avLst/>
          </a:prstGeom>
          <a:noFill/>
        </p:spPr>
        <p:txBody>
          <a:bodyPr wrap="none" lIns="91440" tIns="45720" rIns="91440" bIns="45720">
            <a:spAutoFit/>
          </a:bodyPr>
          <a:lstStyle/>
          <a:p>
            <a:pPr algn="ctr"/>
            <a:r>
              <a:rPr lang="en-US" sz="2800" dirty="0">
                <a:ln w="0"/>
                <a:solidFill>
                  <a:srgbClr val="409786"/>
                </a:solidFill>
                <a:effectLst>
                  <a:outerShdw blurRad="38100" dist="19050" dir="2700000" algn="tl" rotWithShape="0">
                    <a:schemeClr val="dk1">
                      <a:alpha val="40000"/>
                    </a:schemeClr>
                  </a:outerShdw>
                </a:effectLst>
              </a:rPr>
              <a:t>UNASSIGNED</a:t>
            </a:r>
          </a:p>
          <a:p>
            <a:pPr algn="ctr"/>
            <a:r>
              <a:rPr lang="en-US" sz="2800" dirty="0">
                <a:ln w="0"/>
                <a:solidFill>
                  <a:srgbClr val="409786"/>
                </a:solidFill>
                <a:effectLst>
                  <a:outerShdw blurRad="38100" dist="19050" dir="2700000" algn="tl" rotWithShape="0">
                    <a:schemeClr val="dk1">
                      <a:alpha val="40000"/>
                    </a:schemeClr>
                  </a:outerShdw>
                </a:effectLst>
              </a:rPr>
              <a:t>WORKPLACE</a:t>
            </a:r>
          </a:p>
          <a:p>
            <a:pPr algn="ctr"/>
            <a:r>
              <a:rPr lang="en-US" sz="2800" dirty="0">
                <a:ln w="0"/>
                <a:solidFill>
                  <a:srgbClr val="409786"/>
                </a:solidFill>
                <a:effectLst>
                  <a:outerShdw blurRad="38100" dist="19050" dir="2700000" algn="tl" rotWithShape="0">
                    <a:schemeClr val="dk1">
                      <a:alpha val="40000"/>
                    </a:schemeClr>
                  </a:outerShdw>
                </a:effectLst>
              </a:rPr>
              <a:t>UTILIZATION</a:t>
            </a:r>
          </a:p>
        </p:txBody>
      </p:sp>
      <p:pic>
        <p:nvPicPr>
          <p:cNvPr id="8" name="Graphic 7" descr="Add with solid fill">
            <a:extLst>
              <a:ext uri="{FF2B5EF4-FFF2-40B4-BE49-F238E27FC236}">
                <a16:creationId xmlns:a16="http://schemas.microsoft.com/office/drawing/2014/main" id="{D755FA4E-EB82-EA89-1E0C-8347097D19C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595470" y="2848605"/>
            <a:ext cx="661831" cy="661831"/>
          </a:xfrm>
          <a:prstGeom prst="rect">
            <a:avLst/>
          </a:prstGeom>
        </p:spPr>
      </p:pic>
      <p:pic>
        <p:nvPicPr>
          <p:cNvPr id="10" name="Graphic 9" descr="Thumbs up sign with solid fill">
            <a:extLst>
              <a:ext uri="{FF2B5EF4-FFF2-40B4-BE49-F238E27FC236}">
                <a16:creationId xmlns:a16="http://schemas.microsoft.com/office/drawing/2014/main" id="{380FE985-714F-43BD-0C4A-5343E4353E7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90380" y="2631137"/>
            <a:ext cx="914400" cy="914400"/>
          </a:xfrm>
          <a:prstGeom prst="rect">
            <a:avLst/>
          </a:prstGeom>
        </p:spPr>
      </p:pic>
      <p:sp>
        <p:nvSpPr>
          <p:cNvPr id="11" name="TextBox 10">
            <a:extLst>
              <a:ext uri="{FF2B5EF4-FFF2-40B4-BE49-F238E27FC236}">
                <a16:creationId xmlns:a16="http://schemas.microsoft.com/office/drawing/2014/main" id="{B57CB9B0-F40F-C3B6-5138-57EC3FB47AD2}"/>
              </a:ext>
            </a:extLst>
          </p:cNvPr>
          <p:cNvSpPr txBox="1"/>
          <p:nvPr/>
        </p:nvSpPr>
        <p:spPr>
          <a:xfrm>
            <a:off x="9757448" y="2394689"/>
            <a:ext cx="1058333" cy="1569660"/>
          </a:xfrm>
          <a:prstGeom prst="rect">
            <a:avLst/>
          </a:prstGeom>
          <a:noFill/>
        </p:spPr>
        <p:txBody>
          <a:bodyPr wrap="square" rtlCol="0">
            <a:spAutoFit/>
          </a:bodyPr>
          <a:lstStyle/>
          <a:p>
            <a:r>
              <a:rPr lang="fr-CA" sz="9600" dirty="0"/>
              <a:t>=</a:t>
            </a:r>
            <a:endParaRPr lang="en-CA" sz="9600" dirty="0"/>
          </a:p>
        </p:txBody>
      </p:sp>
      <p:grpSp>
        <p:nvGrpSpPr>
          <p:cNvPr id="12" name="Groupe 32">
            <a:extLst>
              <a:ext uri="{FF2B5EF4-FFF2-40B4-BE49-F238E27FC236}">
                <a16:creationId xmlns:a16="http://schemas.microsoft.com/office/drawing/2014/main" id="{58F3014E-4AD2-3E2C-CC6C-082C6CD728B9}"/>
              </a:ext>
            </a:extLst>
          </p:cNvPr>
          <p:cNvGrpSpPr/>
          <p:nvPr/>
        </p:nvGrpSpPr>
        <p:grpSpPr>
          <a:xfrm>
            <a:off x="-369553" y="1383223"/>
            <a:ext cx="343674" cy="4609136"/>
            <a:chOff x="878638" y="1074071"/>
            <a:chExt cx="5364507" cy="4609136"/>
          </a:xfrm>
        </p:grpSpPr>
        <p:sp>
          <p:nvSpPr>
            <p:cNvPr id="13" name="Rectangle 12">
              <a:extLst>
                <a:ext uri="{FF2B5EF4-FFF2-40B4-BE49-F238E27FC236}">
                  <a16:creationId xmlns:a16="http://schemas.microsoft.com/office/drawing/2014/main" id="{CC95CAA0-9437-3BAD-A7EC-714546F1BB49}"/>
                </a:ext>
              </a:extLst>
            </p:cNvPr>
            <p:cNvSpPr/>
            <p:nvPr/>
          </p:nvSpPr>
          <p:spPr>
            <a:xfrm>
              <a:off x="878638" y="3479263"/>
              <a:ext cx="5364507" cy="400050"/>
            </a:xfrm>
            <a:prstGeom prst="rect">
              <a:avLst/>
            </a:prstGeom>
            <a:solidFill>
              <a:srgbClr val="FAA4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900" b="0" i="0" u="none" strike="noStrike" kern="1200" cap="none" spc="0" normalizeH="0" baseline="0" noProof="0" dirty="0">
                  <a:ln>
                    <a:noFill/>
                  </a:ln>
                  <a:solidFill>
                    <a:srgbClr val="F1F2F2"/>
                  </a:solidFill>
                  <a:effectLst/>
                  <a:uLnTx/>
                  <a:uFillTx/>
                  <a:latin typeface="Avenir Next LT Pro Demi" panose="020B0704020202020204" pitchFamily="34" charset="0"/>
                  <a:ea typeface="+mn-ea"/>
                  <a:cs typeface="+mn-cs"/>
                </a:rPr>
                <a:t>X</a:t>
              </a:r>
            </a:p>
          </p:txBody>
        </p:sp>
        <p:sp>
          <p:nvSpPr>
            <p:cNvPr id="14" name="Rectangle 13">
              <a:extLst>
                <a:ext uri="{FF2B5EF4-FFF2-40B4-BE49-F238E27FC236}">
                  <a16:creationId xmlns:a16="http://schemas.microsoft.com/office/drawing/2014/main" id="{F95EE75B-A8B2-91E3-EE26-F5E131353F21}"/>
                </a:ext>
              </a:extLst>
            </p:cNvPr>
            <p:cNvSpPr/>
            <p:nvPr/>
          </p:nvSpPr>
          <p:spPr>
            <a:xfrm>
              <a:off x="878638" y="4080561"/>
              <a:ext cx="5364507" cy="400050"/>
            </a:xfrm>
            <a:prstGeom prst="rect">
              <a:avLst/>
            </a:prstGeom>
            <a:solidFill>
              <a:srgbClr val="C35E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900" b="0" i="0" u="none" strike="noStrike" kern="1200" cap="none" spc="0" normalizeH="0" baseline="0" noProof="0" dirty="0">
                  <a:ln>
                    <a:noFill/>
                  </a:ln>
                  <a:solidFill>
                    <a:srgbClr val="F1F2F2"/>
                  </a:solidFill>
                  <a:effectLst/>
                  <a:uLnTx/>
                  <a:uFillTx/>
                  <a:latin typeface="Avenir Next LT Pro Demi" panose="020B0704020202020204" pitchFamily="34" charset="0"/>
                  <a:ea typeface="+mn-ea"/>
                  <a:cs typeface="+mn-cs"/>
                </a:rPr>
                <a:t>X</a:t>
              </a:r>
            </a:p>
          </p:txBody>
        </p:sp>
        <p:sp>
          <p:nvSpPr>
            <p:cNvPr id="15" name="Rectangle 14">
              <a:extLst>
                <a:ext uri="{FF2B5EF4-FFF2-40B4-BE49-F238E27FC236}">
                  <a16:creationId xmlns:a16="http://schemas.microsoft.com/office/drawing/2014/main" id="{9B6F9CA1-5BEE-DE53-D5EF-5B29D68C38D7}"/>
                </a:ext>
              </a:extLst>
            </p:cNvPr>
            <p:cNvSpPr/>
            <p:nvPr/>
          </p:nvSpPr>
          <p:spPr>
            <a:xfrm>
              <a:off x="878638" y="4681859"/>
              <a:ext cx="5364507" cy="400050"/>
            </a:xfrm>
            <a:prstGeom prst="rect">
              <a:avLst/>
            </a:prstGeom>
            <a:solidFill>
              <a:srgbClr val="A232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900" b="0" i="0" u="none" strike="noStrike" kern="1200" cap="none" spc="0" normalizeH="0" baseline="0" noProof="0" dirty="0">
                  <a:ln>
                    <a:noFill/>
                  </a:ln>
                  <a:solidFill>
                    <a:srgbClr val="F1F2F2"/>
                  </a:solidFill>
                  <a:effectLst/>
                  <a:uLnTx/>
                  <a:uFillTx/>
                  <a:latin typeface="Avenir Next LT Pro Demi" panose="020B0704020202020204" pitchFamily="34" charset="0"/>
                  <a:ea typeface="+mn-ea"/>
                  <a:cs typeface="+mn-cs"/>
                </a:rPr>
                <a:t>X</a:t>
              </a:r>
            </a:p>
          </p:txBody>
        </p:sp>
        <p:sp>
          <p:nvSpPr>
            <p:cNvPr id="16" name="Rectangle 15">
              <a:extLst>
                <a:ext uri="{FF2B5EF4-FFF2-40B4-BE49-F238E27FC236}">
                  <a16:creationId xmlns:a16="http://schemas.microsoft.com/office/drawing/2014/main" id="{996048D7-61E3-7443-FD58-C6B229EDDDA2}"/>
                </a:ext>
              </a:extLst>
            </p:cNvPr>
            <p:cNvSpPr/>
            <p:nvPr/>
          </p:nvSpPr>
          <p:spPr>
            <a:xfrm>
              <a:off x="878638" y="5283157"/>
              <a:ext cx="5364507" cy="400050"/>
            </a:xfrm>
            <a:prstGeom prst="rect">
              <a:avLst/>
            </a:prstGeom>
            <a:solidFill>
              <a:srgbClr val="7778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900" b="0" i="0" u="none" strike="noStrike" kern="1200" cap="none" spc="0" normalizeH="0" baseline="0" noProof="0" dirty="0">
                  <a:ln>
                    <a:noFill/>
                  </a:ln>
                  <a:solidFill>
                    <a:srgbClr val="F1F2F2"/>
                  </a:solidFill>
                  <a:effectLst/>
                  <a:uLnTx/>
                  <a:uFillTx/>
                  <a:latin typeface="Avenir Next LT Pro Demi" panose="020B0704020202020204" pitchFamily="34" charset="0"/>
                  <a:ea typeface="+mn-ea"/>
                  <a:cs typeface="+mn-cs"/>
                </a:rPr>
                <a:t>X</a:t>
              </a:r>
            </a:p>
          </p:txBody>
        </p:sp>
        <p:sp>
          <p:nvSpPr>
            <p:cNvPr id="17" name="Rectangle 16">
              <a:extLst>
                <a:ext uri="{FF2B5EF4-FFF2-40B4-BE49-F238E27FC236}">
                  <a16:creationId xmlns:a16="http://schemas.microsoft.com/office/drawing/2014/main" id="{7B639ADF-C661-E19F-51C7-BDAF4EB6BF6A}"/>
                </a:ext>
              </a:extLst>
            </p:cNvPr>
            <p:cNvSpPr/>
            <p:nvPr/>
          </p:nvSpPr>
          <p:spPr>
            <a:xfrm>
              <a:off x="878638" y="1074071"/>
              <a:ext cx="5364507" cy="400050"/>
            </a:xfrm>
            <a:prstGeom prst="rect">
              <a:avLst/>
            </a:prstGeom>
            <a:solidFill>
              <a:srgbClr val="AFA9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900" b="0" i="0" u="none" strike="noStrike" kern="1200" cap="none" spc="0" normalizeH="0" baseline="0" noProof="0" dirty="0">
                  <a:ln>
                    <a:noFill/>
                  </a:ln>
                  <a:solidFill>
                    <a:srgbClr val="F1F2F2"/>
                  </a:solidFill>
                  <a:effectLst/>
                  <a:uLnTx/>
                  <a:uFillTx/>
                  <a:latin typeface="Avenir Next LT Pro Demi" panose="020B0704020202020204" pitchFamily="34" charset="0"/>
                  <a:ea typeface="+mn-ea"/>
                  <a:cs typeface="+mn-cs"/>
                </a:rPr>
                <a:t>X</a:t>
              </a:r>
            </a:p>
          </p:txBody>
        </p:sp>
        <p:sp>
          <p:nvSpPr>
            <p:cNvPr id="18" name="Rectangle 17">
              <a:extLst>
                <a:ext uri="{FF2B5EF4-FFF2-40B4-BE49-F238E27FC236}">
                  <a16:creationId xmlns:a16="http://schemas.microsoft.com/office/drawing/2014/main" id="{3046DAAA-25A1-D797-E7D4-54F7B97AC7AA}"/>
                </a:ext>
              </a:extLst>
            </p:cNvPr>
            <p:cNvSpPr/>
            <p:nvPr/>
          </p:nvSpPr>
          <p:spPr>
            <a:xfrm>
              <a:off x="878638" y="1675369"/>
              <a:ext cx="5364507" cy="400050"/>
            </a:xfrm>
            <a:prstGeom prst="rect">
              <a:avLst/>
            </a:prstGeom>
            <a:solidFill>
              <a:srgbClr val="96C2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900" b="0" i="0" u="none" strike="noStrike" kern="1200" cap="none" spc="0" normalizeH="0" baseline="0" noProof="0" dirty="0">
                  <a:ln>
                    <a:noFill/>
                  </a:ln>
                  <a:solidFill>
                    <a:srgbClr val="F1F2F2"/>
                  </a:solidFill>
                  <a:effectLst/>
                  <a:uLnTx/>
                  <a:uFillTx/>
                  <a:latin typeface="Avenir Next LT Pro Demi" panose="020B0704020202020204" pitchFamily="34" charset="0"/>
                  <a:ea typeface="+mn-ea"/>
                  <a:cs typeface="+mn-cs"/>
                </a:rPr>
                <a:t>X</a:t>
              </a:r>
            </a:p>
          </p:txBody>
        </p:sp>
        <p:sp>
          <p:nvSpPr>
            <p:cNvPr id="19" name="Rectangle 18">
              <a:extLst>
                <a:ext uri="{FF2B5EF4-FFF2-40B4-BE49-F238E27FC236}">
                  <a16:creationId xmlns:a16="http://schemas.microsoft.com/office/drawing/2014/main" id="{B6A7C278-DBA8-184B-3480-40C88DD8F3A1}"/>
                </a:ext>
              </a:extLst>
            </p:cNvPr>
            <p:cNvSpPr/>
            <p:nvPr/>
          </p:nvSpPr>
          <p:spPr>
            <a:xfrm>
              <a:off x="878638" y="2276667"/>
              <a:ext cx="5364507" cy="400050"/>
            </a:xfrm>
            <a:prstGeom prst="rect">
              <a:avLst/>
            </a:prstGeom>
            <a:solidFill>
              <a:srgbClr val="4097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900" b="0" i="0" u="none" strike="noStrike" kern="1200" cap="none" spc="0" normalizeH="0" baseline="0" noProof="0" dirty="0">
                  <a:ln>
                    <a:noFill/>
                  </a:ln>
                  <a:solidFill>
                    <a:srgbClr val="F1F2F2"/>
                  </a:solidFill>
                  <a:effectLst/>
                  <a:uLnTx/>
                  <a:uFillTx/>
                  <a:latin typeface="Avenir Next LT Pro Demi" panose="020B0704020202020204" pitchFamily="34" charset="0"/>
                  <a:ea typeface="+mn-ea"/>
                  <a:cs typeface="+mn-cs"/>
                </a:rPr>
                <a:t>X</a:t>
              </a:r>
            </a:p>
          </p:txBody>
        </p:sp>
        <p:sp>
          <p:nvSpPr>
            <p:cNvPr id="20" name="Rectangle 19">
              <a:extLst>
                <a:ext uri="{FF2B5EF4-FFF2-40B4-BE49-F238E27FC236}">
                  <a16:creationId xmlns:a16="http://schemas.microsoft.com/office/drawing/2014/main" id="{127A6436-2660-CD6B-AD8F-61ACC03C8B60}"/>
                </a:ext>
              </a:extLst>
            </p:cNvPr>
            <p:cNvSpPr/>
            <p:nvPr/>
          </p:nvSpPr>
          <p:spPr>
            <a:xfrm>
              <a:off x="878638" y="2877965"/>
              <a:ext cx="5364507" cy="400050"/>
            </a:xfrm>
            <a:prstGeom prst="rect">
              <a:avLst/>
            </a:prstGeom>
            <a:solidFill>
              <a:srgbClr val="2C6A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900" b="0" i="0" u="none" strike="noStrike" kern="1200" cap="none" spc="0" normalizeH="0" baseline="0" noProof="0" dirty="0">
                  <a:ln>
                    <a:noFill/>
                  </a:ln>
                  <a:solidFill>
                    <a:srgbClr val="F1F2F2"/>
                  </a:solidFill>
                  <a:effectLst/>
                  <a:uLnTx/>
                  <a:uFillTx/>
                  <a:latin typeface="Avenir Next LT Pro Demi" panose="020B0704020202020204" pitchFamily="34" charset="0"/>
                  <a:ea typeface="+mn-ea"/>
                  <a:cs typeface="+mn-cs"/>
                </a:rPr>
                <a:t>X</a:t>
              </a:r>
            </a:p>
          </p:txBody>
        </p:sp>
      </p:grpSp>
    </p:spTree>
    <p:extLst>
      <p:ext uri="{BB962C8B-B14F-4D97-AF65-F5344CB8AC3E}">
        <p14:creationId xmlns:p14="http://schemas.microsoft.com/office/powerpoint/2010/main" val="19065322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734BDC7-6FED-6D61-93E0-80716BD698E8}"/>
              </a:ext>
            </a:extLst>
          </p:cNvPr>
          <p:cNvSpPr>
            <a:spLocks noGrp="1"/>
          </p:cNvSpPr>
          <p:nvPr>
            <p:ph type="title"/>
          </p:nvPr>
        </p:nvSpPr>
        <p:spPr>
          <a:xfrm>
            <a:off x="245304" y="188640"/>
            <a:ext cx="11041821" cy="843880"/>
          </a:xfrm>
        </p:spPr>
        <p:txBody>
          <a:bodyPr anchor="ctr"/>
          <a:lstStyle/>
          <a:p>
            <a:pPr algn="l"/>
            <a:r>
              <a:rPr lang="en-US" sz="2800" b="0" dirty="0">
                <a:solidFill>
                  <a:srgbClr val="000000"/>
                </a:solidFill>
                <a:latin typeface="Avenir Next LT Pro Demi" panose="020B0704020202020204" pitchFamily="34" charset="0"/>
                <a:cs typeface="Arial" panose="020B0604020202020204" pitchFamily="34" charset="0"/>
              </a:rPr>
              <a:t>The Return to Office Looks Different for Everyone </a:t>
            </a:r>
            <a:endParaRPr lang="en-CA" sz="2800" b="0" dirty="0">
              <a:latin typeface="Avenir Next LT Pro Demi" panose="020B0704020202020204" pitchFamily="34" charset="0"/>
            </a:endParaRPr>
          </a:p>
        </p:txBody>
      </p:sp>
      <p:sp>
        <p:nvSpPr>
          <p:cNvPr id="5" name="TextBox 4">
            <a:extLst>
              <a:ext uri="{FF2B5EF4-FFF2-40B4-BE49-F238E27FC236}">
                <a16:creationId xmlns:a16="http://schemas.microsoft.com/office/drawing/2014/main" id="{8450640E-C55C-5665-D2A3-49AF6FCFF2FC}"/>
              </a:ext>
            </a:extLst>
          </p:cNvPr>
          <p:cNvSpPr txBox="1"/>
          <p:nvPr/>
        </p:nvSpPr>
        <p:spPr>
          <a:xfrm>
            <a:off x="0" y="1032520"/>
            <a:ext cx="3707285" cy="4682480"/>
          </a:xfrm>
          <a:prstGeom prst="rect">
            <a:avLst/>
          </a:prstGeom>
          <a:solidFill>
            <a:srgbClr val="FFFFFF"/>
          </a:solidFill>
          <a:ln>
            <a:noFill/>
          </a:ln>
        </p:spPr>
        <p:txBody>
          <a:bodyPr wrap="square" lIns="360000" tIns="252000" rIns="360000" bIns="252000" rtlCol="0" anchor="ctr" anchorCtr="0">
            <a:noAutofit/>
          </a:bodyPr>
          <a:lstStyle/>
          <a:p>
            <a:pPr marL="0" marR="0" lvl="0" indent="0" algn="l" defTabSz="914400" rtl="0" eaLnBrk="0" fontAlgn="base" latinLnBrk="0" hangingPunct="0">
              <a:lnSpc>
                <a:spcPts val="3000"/>
              </a:lnSpc>
              <a:spcBef>
                <a:spcPct val="0"/>
              </a:spcBef>
              <a:spcAft>
                <a:spcPct val="0"/>
              </a:spcAft>
              <a:buClrTx/>
              <a:buSzTx/>
              <a:buFontTx/>
              <a:buNone/>
              <a:tabLst/>
              <a:defRPr/>
            </a:pPr>
            <a:r>
              <a:rPr kumimoji="0" lang="en-CA" sz="18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rPr>
              <a:t>However, with only about 4% of general purpose office space having been modernized to GCworkplace in the last few years, the reality is that most employees will be going back to more traditional workplaces.</a:t>
            </a:r>
          </a:p>
        </p:txBody>
      </p:sp>
      <p:sp>
        <p:nvSpPr>
          <p:cNvPr id="6" name="Rectangle 5">
            <a:extLst>
              <a:ext uri="{FF2B5EF4-FFF2-40B4-BE49-F238E27FC236}">
                <a16:creationId xmlns:a16="http://schemas.microsoft.com/office/drawing/2014/main" id="{4BA3FBF8-77A8-C828-5034-32848704A02A}"/>
              </a:ext>
            </a:extLst>
          </p:cNvPr>
          <p:cNvSpPr/>
          <p:nvPr/>
        </p:nvSpPr>
        <p:spPr>
          <a:xfrm>
            <a:off x="3886201" y="1032519"/>
            <a:ext cx="8305800" cy="468247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srgbClr val="F1F2F2"/>
              </a:solidFill>
              <a:effectLst/>
              <a:uLnTx/>
              <a:uFillTx/>
              <a:latin typeface="Arial"/>
              <a:ea typeface="+mn-ea"/>
              <a:cs typeface="+mn-cs"/>
            </a:endParaRPr>
          </a:p>
        </p:txBody>
      </p:sp>
      <p:graphicFrame>
        <p:nvGraphicFramePr>
          <p:cNvPr id="13" name="Chart 12">
            <a:extLst>
              <a:ext uri="{FF2B5EF4-FFF2-40B4-BE49-F238E27FC236}">
                <a16:creationId xmlns:a16="http://schemas.microsoft.com/office/drawing/2014/main" id="{6672E40B-BB53-06F0-D437-DF7DFB0D8F91}"/>
              </a:ext>
            </a:extLst>
          </p:cNvPr>
          <p:cNvGraphicFramePr/>
          <p:nvPr/>
        </p:nvGraphicFramePr>
        <p:xfrm>
          <a:off x="5945130" y="2081351"/>
          <a:ext cx="3846286" cy="2863910"/>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a:extLst>
              <a:ext uri="{FF2B5EF4-FFF2-40B4-BE49-F238E27FC236}">
                <a16:creationId xmlns:a16="http://schemas.microsoft.com/office/drawing/2014/main" id="{9B6110DE-F593-1530-73C0-FDFFA083D326}"/>
              </a:ext>
            </a:extLst>
          </p:cNvPr>
          <p:cNvSpPr txBox="1"/>
          <p:nvPr/>
        </p:nvSpPr>
        <p:spPr>
          <a:xfrm>
            <a:off x="8363601" y="2081350"/>
            <a:ext cx="321346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6C6E71"/>
                </a:solidFill>
                <a:effectLst/>
                <a:uLnTx/>
                <a:uFillTx/>
                <a:latin typeface="Arial"/>
                <a:ea typeface="+mn-ea"/>
                <a:cs typeface="+mn-cs"/>
              </a:rPr>
              <a:t>Workplace 2.0</a:t>
            </a:r>
            <a:endParaRPr kumimoji="0" lang="en-CA" sz="1600" b="1" i="0" u="none" strike="noStrike" kern="1200" cap="none" spc="0" normalizeH="0" baseline="0" noProof="0" dirty="0">
              <a:ln>
                <a:noFill/>
              </a:ln>
              <a:solidFill>
                <a:srgbClr val="6C6E71"/>
              </a:solidFill>
              <a:effectLst/>
              <a:uLnTx/>
              <a:uFillTx/>
              <a:latin typeface="Arial"/>
              <a:ea typeface="+mn-ea"/>
              <a:cs typeface="+mn-cs"/>
            </a:endParaRPr>
          </a:p>
        </p:txBody>
      </p:sp>
      <p:pic>
        <p:nvPicPr>
          <p:cNvPr id="16" name="Picture 15">
            <a:extLst>
              <a:ext uri="{FF2B5EF4-FFF2-40B4-BE49-F238E27FC236}">
                <a16:creationId xmlns:a16="http://schemas.microsoft.com/office/drawing/2014/main" id="{F72A6613-6EF8-C69F-5D1B-DF082806CF62}"/>
              </a:ext>
            </a:extLst>
          </p:cNvPr>
          <p:cNvPicPr>
            <a:picLocks noChangeAspect="1"/>
          </p:cNvPicPr>
          <p:nvPr/>
        </p:nvPicPr>
        <p:blipFill>
          <a:blip r:embed="rId3"/>
          <a:stretch>
            <a:fillRect/>
          </a:stretch>
        </p:blipFill>
        <p:spPr>
          <a:xfrm>
            <a:off x="6180132" y="1643177"/>
            <a:ext cx="1568531" cy="438173"/>
          </a:xfrm>
          <a:prstGeom prst="rect">
            <a:avLst/>
          </a:prstGeom>
        </p:spPr>
      </p:pic>
      <p:sp>
        <p:nvSpPr>
          <p:cNvPr id="17" name="TextBox 16">
            <a:extLst>
              <a:ext uri="{FF2B5EF4-FFF2-40B4-BE49-F238E27FC236}">
                <a16:creationId xmlns:a16="http://schemas.microsoft.com/office/drawing/2014/main" id="{8C6356A5-5021-1653-6F8D-6EAE686E02E5}"/>
              </a:ext>
            </a:extLst>
          </p:cNvPr>
          <p:cNvSpPr txBox="1"/>
          <p:nvPr/>
        </p:nvSpPr>
        <p:spPr>
          <a:xfrm>
            <a:off x="5766214" y="4752482"/>
            <a:ext cx="321346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err="1">
                <a:ln>
                  <a:noFill/>
                </a:ln>
                <a:solidFill>
                  <a:srgbClr val="6C6E71"/>
                </a:solidFill>
                <a:effectLst/>
                <a:uLnTx/>
                <a:uFillTx/>
                <a:latin typeface="Arial"/>
                <a:ea typeface="+mn-ea"/>
                <a:cs typeface="+mn-cs"/>
              </a:rPr>
              <a:t>Traditional</a:t>
            </a:r>
            <a:r>
              <a:rPr kumimoji="0" lang="fr-CA" sz="1600" b="1" i="0" u="none" strike="noStrike" kern="1200" cap="none" spc="0" normalizeH="0" baseline="0" noProof="0" dirty="0">
                <a:ln>
                  <a:noFill/>
                </a:ln>
                <a:solidFill>
                  <a:srgbClr val="6C6E71"/>
                </a:solidFill>
                <a:effectLst/>
                <a:uLnTx/>
                <a:uFillTx/>
                <a:latin typeface="Arial"/>
                <a:ea typeface="+mn-ea"/>
                <a:cs typeface="+mn-cs"/>
              </a:rPr>
              <a:t> </a:t>
            </a:r>
            <a:r>
              <a:rPr kumimoji="0" lang="fr-CA" sz="1600" b="1" i="0" u="none" strike="noStrike" kern="1200" cap="none" spc="0" normalizeH="0" baseline="0" noProof="0" dirty="0" err="1">
                <a:ln>
                  <a:noFill/>
                </a:ln>
                <a:solidFill>
                  <a:srgbClr val="6C6E71"/>
                </a:solidFill>
                <a:effectLst/>
                <a:uLnTx/>
                <a:uFillTx/>
                <a:latin typeface="Arial"/>
                <a:ea typeface="+mn-ea"/>
                <a:cs typeface="+mn-cs"/>
              </a:rPr>
              <a:t>Workplaces</a:t>
            </a:r>
            <a:r>
              <a:rPr kumimoji="0" lang="fr-CA" sz="1600" b="1" i="0" u="none" strike="noStrike" kern="1200" cap="none" spc="0" normalizeH="0" baseline="0" noProof="0" dirty="0">
                <a:ln>
                  <a:noFill/>
                </a:ln>
                <a:solidFill>
                  <a:srgbClr val="6C6E71"/>
                </a:solidFill>
                <a:effectLst/>
                <a:uLnTx/>
                <a:uFillTx/>
                <a:latin typeface="Arial"/>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600" b="1" i="0" u="none" strike="noStrike" kern="1200" cap="none" spc="0" normalizeH="0" baseline="0" noProof="0" dirty="0">
              <a:ln>
                <a:noFill/>
              </a:ln>
              <a:solidFill>
                <a:srgbClr val="6C6E71"/>
              </a:solidFill>
              <a:effectLst/>
              <a:uLnTx/>
              <a:uFillTx/>
              <a:latin typeface="Arial"/>
              <a:ea typeface="+mn-ea"/>
              <a:cs typeface="+mn-cs"/>
            </a:endParaRPr>
          </a:p>
        </p:txBody>
      </p:sp>
    </p:spTree>
    <p:extLst>
      <p:ext uri="{BB962C8B-B14F-4D97-AF65-F5344CB8AC3E}">
        <p14:creationId xmlns:p14="http://schemas.microsoft.com/office/powerpoint/2010/main" val="13743558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1" name="Rectangle 530">
            <a:extLst>
              <a:ext uri="{FF2B5EF4-FFF2-40B4-BE49-F238E27FC236}">
                <a16:creationId xmlns:a16="http://schemas.microsoft.com/office/drawing/2014/main" id="{01F46DB5-85CD-9626-E337-4E708245FF7A}"/>
              </a:ext>
            </a:extLst>
          </p:cNvPr>
          <p:cNvSpPr/>
          <p:nvPr/>
        </p:nvSpPr>
        <p:spPr>
          <a:xfrm>
            <a:off x="4550735" y="1032520"/>
            <a:ext cx="7654468" cy="46824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1F2F2"/>
              </a:solidFill>
              <a:effectLst/>
              <a:uLnTx/>
              <a:uFillTx/>
              <a:latin typeface="Arial"/>
              <a:ea typeface="+mn-ea"/>
              <a:cs typeface="+mn-cs"/>
            </a:endParaRPr>
          </a:p>
        </p:txBody>
      </p:sp>
      <p:sp>
        <p:nvSpPr>
          <p:cNvPr id="2" name="Title 1">
            <a:extLst>
              <a:ext uri="{FF2B5EF4-FFF2-40B4-BE49-F238E27FC236}">
                <a16:creationId xmlns:a16="http://schemas.microsoft.com/office/drawing/2014/main" id="{A815345A-760D-06D6-9FC0-8AE0AAC067E2}"/>
              </a:ext>
            </a:extLst>
          </p:cNvPr>
          <p:cNvSpPr>
            <a:spLocks noGrp="1"/>
          </p:cNvSpPr>
          <p:nvPr>
            <p:ph type="title"/>
          </p:nvPr>
        </p:nvSpPr>
        <p:spPr>
          <a:xfrm>
            <a:off x="245304" y="188640"/>
            <a:ext cx="11333888" cy="843880"/>
          </a:xfrm>
        </p:spPr>
        <p:txBody>
          <a:bodyPr anchor="ctr"/>
          <a:lstStyle/>
          <a:p>
            <a:pPr algn="l"/>
            <a:r>
              <a:rPr kumimoji="0" lang="en-US" sz="2800" b="0" i="0" u="none" strike="noStrike" kern="1200" cap="none" spc="0" normalizeH="0" baseline="0" noProof="0" dirty="0">
                <a:ln>
                  <a:noFill/>
                </a:ln>
                <a:solidFill>
                  <a:srgbClr val="000000"/>
                </a:solidFill>
                <a:effectLst/>
                <a:uLnTx/>
                <a:uFillTx/>
                <a:latin typeface="Avenir Next LT Pro Demi" panose="020B0704020202020204" pitchFamily="34" charset="0"/>
                <a:cs typeface="Arial" panose="020B0604020202020204" pitchFamily="34" charset="0"/>
              </a:rPr>
              <a:t>Accommodating More with Less</a:t>
            </a:r>
            <a:endParaRPr lang="en-CA" sz="2800" dirty="0">
              <a:latin typeface="Avenir Next LT Pro Demi" panose="020B0704020202020204" pitchFamily="34" charset="0"/>
            </a:endParaRPr>
          </a:p>
        </p:txBody>
      </p:sp>
      <p:sp>
        <p:nvSpPr>
          <p:cNvPr id="4" name="TextBox 3">
            <a:extLst>
              <a:ext uri="{FF2B5EF4-FFF2-40B4-BE49-F238E27FC236}">
                <a16:creationId xmlns:a16="http://schemas.microsoft.com/office/drawing/2014/main" id="{50356803-FC16-EDD3-41D2-F12ED660D11D}"/>
              </a:ext>
            </a:extLst>
          </p:cNvPr>
          <p:cNvSpPr txBox="1"/>
          <p:nvPr/>
        </p:nvSpPr>
        <p:spPr>
          <a:xfrm>
            <a:off x="0" y="1032520"/>
            <a:ext cx="4380374" cy="4682480"/>
          </a:xfrm>
          <a:prstGeom prst="rect">
            <a:avLst/>
          </a:prstGeom>
          <a:solidFill>
            <a:srgbClr val="FFFFFF"/>
          </a:solidFill>
          <a:ln>
            <a:noFill/>
          </a:ln>
        </p:spPr>
        <p:txBody>
          <a:bodyPr wrap="square" lIns="360000" tIns="252000" rIns="252000" bIns="252000" rtlCol="0" anchor="ctr" anchorCtr="0">
            <a:noAutofit/>
          </a:bodyPr>
          <a:lstStyle/>
          <a:p>
            <a:pPr marL="0" marR="0" lvl="0" indent="0" algn="l" defTabSz="914400" rtl="0" eaLnBrk="1" fontAlgn="auto" latinLnBrk="0" hangingPunct="1">
              <a:lnSpc>
                <a:spcPts val="3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rPr>
              <a:t>While adopting an unassigned workplace utilization for a hybrid work model is a flexible and efficient strategy to serve a larger population than its target onsite occupancy can accommodate, there are two important factors to consider: the employee experience and managing occupancy levels.  </a:t>
            </a:r>
          </a:p>
        </p:txBody>
      </p:sp>
      <p:grpSp>
        <p:nvGrpSpPr>
          <p:cNvPr id="3" name="Group 2">
            <a:extLst>
              <a:ext uri="{FF2B5EF4-FFF2-40B4-BE49-F238E27FC236}">
                <a16:creationId xmlns:a16="http://schemas.microsoft.com/office/drawing/2014/main" id="{2F762431-D34A-9150-A2D6-F3834A9272BC}"/>
              </a:ext>
            </a:extLst>
          </p:cNvPr>
          <p:cNvGrpSpPr/>
          <p:nvPr/>
        </p:nvGrpSpPr>
        <p:grpSpPr>
          <a:xfrm>
            <a:off x="4550735" y="1184172"/>
            <a:ext cx="7207352" cy="4489655"/>
            <a:chOff x="201064" y="1376874"/>
            <a:chExt cx="7207352" cy="4489655"/>
          </a:xfrm>
        </p:grpSpPr>
        <p:pic>
          <p:nvPicPr>
            <p:cNvPr id="5" name="Picture 4">
              <a:extLst>
                <a:ext uri="{FF2B5EF4-FFF2-40B4-BE49-F238E27FC236}">
                  <a16:creationId xmlns:a16="http://schemas.microsoft.com/office/drawing/2014/main" id="{30E2A711-81A6-A122-483C-9DE7ECD059BB}"/>
                </a:ext>
              </a:extLst>
            </p:cNvPr>
            <p:cNvPicPr>
              <a:picLocks noChangeAspect="1"/>
            </p:cNvPicPr>
            <p:nvPr/>
          </p:nvPicPr>
          <p:blipFill rotWithShape="1">
            <a:blip r:embed="rId2" cstate="print">
              <a:clrChange>
                <a:clrFrom>
                  <a:srgbClr val="E2E1DF"/>
                </a:clrFrom>
                <a:clrTo>
                  <a:srgbClr val="E2E1DF">
                    <a:alpha val="0"/>
                  </a:srgbClr>
                </a:clrTo>
              </a:clrChange>
              <a:biLevel thresh="50000"/>
              <a:extLst>
                <a:ext uri="{28A0092B-C50C-407E-A947-70E740481C1C}">
                  <a14:useLocalDpi xmlns:a14="http://schemas.microsoft.com/office/drawing/2010/main" val="0"/>
                </a:ext>
              </a:extLst>
            </a:blip>
            <a:srcRect r="20352"/>
            <a:stretch/>
          </p:blipFill>
          <p:spPr>
            <a:xfrm>
              <a:off x="1607120" y="2116376"/>
              <a:ext cx="5143537" cy="3750153"/>
            </a:xfrm>
            <a:prstGeom prst="rect">
              <a:avLst/>
            </a:prstGeom>
          </p:spPr>
        </p:pic>
        <p:sp>
          <p:nvSpPr>
            <p:cNvPr id="6" name="Oval 5">
              <a:extLst>
                <a:ext uri="{FF2B5EF4-FFF2-40B4-BE49-F238E27FC236}">
                  <a16:creationId xmlns:a16="http://schemas.microsoft.com/office/drawing/2014/main" id="{97F51E84-F401-9468-2206-C3A7454F53D2}"/>
                </a:ext>
              </a:extLst>
            </p:cNvPr>
            <p:cNvSpPr/>
            <p:nvPr/>
          </p:nvSpPr>
          <p:spPr>
            <a:xfrm>
              <a:off x="2679590" y="2711395"/>
              <a:ext cx="4476584" cy="2410574"/>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7" name="Oval 6">
              <a:extLst>
                <a:ext uri="{FF2B5EF4-FFF2-40B4-BE49-F238E27FC236}">
                  <a16:creationId xmlns:a16="http://schemas.microsoft.com/office/drawing/2014/main" id="{8DC82BA3-43FF-8CD7-38CD-2564904A0282}"/>
                </a:ext>
              </a:extLst>
            </p:cNvPr>
            <p:cNvSpPr/>
            <p:nvPr/>
          </p:nvSpPr>
          <p:spPr>
            <a:xfrm>
              <a:off x="4203958" y="1775021"/>
              <a:ext cx="2749457" cy="2410574"/>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pic>
          <p:nvPicPr>
            <p:cNvPr id="8" name="Picture 7">
              <a:extLst>
                <a:ext uri="{FF2B5EF4-FFF2-40B4-BE49-F238E27FC236}">
                  <a16:creationId xmlns:a16="http://schemas.microsoft.com/office/drawing/2014/main" id="{2F43810D-7C0C-7C27-E514-7CDC91C3858A}"/>
                </a:ext>
              </a:extLst>
            </p:cNvPr>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r="71619" b="81697"/>
            <a:stretch/>
          </p:blipFill>
          <p:spPr>
            <a:xfrm>
              <a:off x="647998" y="3092245"/>
              <a:ext cx="1269408" cy="605720"/>
            </a:xfrm>
            <a:prstGeom prst="rect">
              <a:avLst/>
            </a:prstGeom>
          </p:spPr>
        </p:pic>
        <p:pic>
          <p:nvPicPr>
            <p:cNvPr id="9" name="Picture 8">
              <a:extLst>
                <a:ext uri="{FF2B5EF4-FFF2-40B4-BE49-F238E27FC236}">
                  <a16:creationId xmlns:a16="http://schemas.microsoft.com/office/drawing/2014/main" id="{6C00DC41-FA73-F1FC-D8A1-3F32446A8234}"/>
                </a:ext>
              </a:extLst>
            </p:cNvPr>
            <p:cNvPicPr>
              <a:picLocks noChangeAspect="1"/>
            </p:cNvPicPr>
            <p:nvPr/>
          </p:nvPicPr>
          <p:blipFill rotWithShape="1">
            <a:blip r:embed="rId2" cstate="print">
              <a:clrChange>
                <a:clrFrom>
                  <a:srgbClr val="E2E1DF"/>
                </a:clrFrom>
                <a:clrTo>
                  <a:srgbClr val="E2E1DF">
                    <a:alpha val="0"/>
                  </a:srgbClr>
                </a:clrTo>
              </a:clrChange>
              <a:biLevel thresh="50000"/>
              <a:extLst>
                <a:ext uri="{28A0092B-C50C-407E-A947-70E740481C1C}">
                  <a14:useLocalDpi xmlns:a14="http://schemas.microsoft.com/office/drawing/2010/main" val="0"/>
                </a:ext>
              </a:extLst>
            </a:blip>
            <a:srcRect t="49083" r="77134" b="19114"/>
            <a:stretch/>
          </p:blipFill>
          <p:spPr>
            <a:xfrm>
              <a:off x="508759" y="4673833"/>
              <a:ext cx="1476661" cy="1192696"/>
            </a:xfrm>
            <a:prstGeom prst="ellipse">
              <a:avLst/>
            </a:prstGeom>
          </p:spPr>
        </p:pic>
        <p:pic>
          <p:nvPicPr>
            <p:cNvPr id="10" name="Picture 9">
              <a:extLst>
                <a:ext uri="{FF2B5EF4-FFF2-40B4-BE49-F238E27FC236}">
                  <a16:creationId xmlns:a16="http://schemas.microsoft.com/office/drawing/2014/main" id="{FE047185-B277-C750-3F6D-417A5D7456C0}"/>
                </a:ext>
              </a:extLst>
            </p:cNvPr>
            <p:cNvPicPr>
              <a:picLocks noChangeAspect="1"/>
            </p:cNvPicPr>
            <p:nvPr/>
          </p:nvPicPr>
          <p:blipFill rotWithShape="1">
            <a:blip r:embed="rId2" cstate="print">
              <a:clrChange>
                <a:clrFrom>
                  <a:srgbClr val="E2E1DF"/>
                </a:clrFrom>
                <a:clrTo>
                  <a:srgbClr val="E2E1DF">
                    <a:alpha val="0"/>
                  </a:srgbClr>
                </a:clrTo>
              </a:clrChange>
              <a:biLevel thresh="50000"/>
              <a:extLst>
                <a:ext uri="{28A0092B-C50C-407E-A947-70E740481C1C}">
                  <a14:useLocalDpi xmlns:a14="http://schemas.microsoft.com/office/drawing/2010/main" val="0"/>
                </a:ext>
              </a:extLst>
            </a:blip>
            <a:srcRect t="49083" r="77134" b="19114"/>
            <a:stretch/>
          </p:blipFill>
          <p:spPr>
            <a:xfrm>
              <a:off x="201064" y="3648237"/>
              <a:ext cx="1476661" cy="1192696"/>
            </a:xfrm>
            <a:prstGeom prst="ellipse">
              <a:avLst/>
            </a:prstGeom>
          </p:spPr>
        </p:pic>
        <p:pic>
          <p:nvPicPr>
            <p:cNvPr id="11" name="Picture 10">
              <a:extLst>
                <a:ext uri="{FF2B5EF4-FFF2-40B4-BE49-F238E27FC236}">
                  <a16:creationId xmlns:a16="http://schemas.microsoft.com/office/drawing/2014/main" id="{53786D68-66AC-8A95-B1C8-72524EC7B14D}"/>
                </a:ext>
              </a:extLst>
            </p:cNvPr>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r="71619" b="81697"/>
            <a:stretch/>
          </p:blipFill>
          <p:spPr>
            <a:xfrm>
              <a:off x="337712" y="2604043"/>
              <a:ext cx="1269408" cy="605720"/>
            </a:xfrm>
            <a:prstGeom prst="rect">
              <a:avLst/>
            </a:prstGeom>
          </p:spPr>
        </p:pic>
        <p:pic>
          <p:nvPicPr>
            <p:cNvPr id="12" name="Picture 11">
              <a:extLst>
                <a:ext uri="{FF2B5EF4-FFF2-40B4-BE49-F238E27FC236}">
                  <a16:creationId xmlns:a16="http://schemas.microsoft.com/office/drawing/2014/main" id="{B953EA2B-2000-D3BE-6275-18F1DF098299}"/>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6354" t="3179" r="7332" b="3664"/>
            <a:stretch/>
          </p:blipFill>
          <p:spPr>
            <a:xfrm>
              <a:off x="3254828" y="1376874"/>
              <a:ext cx="4153588" cy="3464059"/>
            </a:xfrm>
            <a:prstGeom prst="rect">
              <a:avLst/>
            </a:prstGeom>
          </p:spPr>
        </p:pic>
      </p:grpSp>
      <p:sp>
        <p:nvSpPr>
          <p:cNvPr id="13" name="TextBox 12">
            <a:extLst>
              <a:ext uri="{FF2B5EF4-FFF2-40B4-BE49-F238E27FC236}">
                <a16:creationId xmlns:a16="http://schemas.microsoft.com/office/drawing/2014/main" id="{F4250D25-00E5-D658-7C68-C983E61F810C}"/>
              </a:ext>
            </a:extLst>
          </p:cNvPr>
          <p:cNvSpPr txBox="1"/>
          <p:nvPr/>
        </p:nvSpPr>
        <p:spPr>
          <a:xfrm>
            <a:off x="5010077" y="1157382"/>
            <a:ext cx="1772252" cy="614399"/>
          </a:xfrm>
          <a:prstGeom prst="rect">
            <a:avLst/>
          </a:prstGeom>
          <a:noFill/>
        </p:spPr>
        <p:txBody>
          <a:bodyPr wrap="square" rtlCol="0">
            <a:spAutoFit/>
          </a:bodyPr>
          <a:lstStyle/>
          <a:p>
            <a:pPr marL="0" marR="0" lvl="0" indent="0" algn="l" defTabSz="914400" rtl="0" eaLnBrk="1" fontAlgn="auto" latinLnBrk="0" hangingPunct="1">
              <a:lnSpc>
                <a:spcPts val="2100"/>
              </a:lnSpc>
              <a:spcBef>
                <a:spcPts val="0"/>
              </a:spcBef>
              <a:spcAft>
                <a:spcPts val="0"/>
              </a:spcAft>
              <a:buClrTx/>
              <a:buSzTx/>
              <a:buFontTx/>
              <a:buNone/>
              <a:tabLst/>
              <a:defRPr/>
            </a:pPr>
            <a:r>
              <a:rPr kumimoji="0" lang="en-CA" sz="1600" b="0" i="0" u="none" strike="noStrike" kern="1200" cap="none" spc="0" normalizeH="0" baseline="0" noProof="0" dirty="0">
                <a:ln>
                  <a:noFill/>
                </a:ln>
                <a:solidFill>
                  <a:srgbClr val="FAA41A"/>
                </a:solidFill>
                <a:effectLst/>
                <a:uLnTx/>
                <a:uFillTx/>
                <a:latin typeface="Avenir Next LT Pro Demi" panose="020B0704020202020204" pitchFamily="34" charset="0"/>
                <a:ea typeface="+mn-ea"/>
                <a:cs typeface="+mn-cs"/>
              </a:rPr>
              <a:t>OCCUPANT</a:t>
            </a:r>
          </a:p>
          <a:p>
            <a:pPr marL="0" marR="0" lvl="0" indent="0" algn="l" defTabSz="914400" rtl="0" eaLnBrk="1" fontAlgn="auto" latinLnBrk="0" hangingPunct="1">
              <a:lnSpc>
                <a:spcPts val="2100"/>
              </a:lnSpc>
              <a:spcBef>
                <a:spcPts val="0"/>
              </a:spcBef>
              <a:spcAft>
                <a:spcPts val="0"/>
              </a:spcAft>
              <a:buClrTx/>
              <a:buSzTx/>
              <a:buFontTx/>
              <a:buNone/>
              <a:tabLst/>
              <a:defRPr/>
            </a:pPr>
            <a:r>
              <a:rPr kumimoji="0" lang="en-CA" sz="1600" b="0" i="0" u="none" strike="noStrike" kern="1200" cap="none" spc="0" normalizeH="0" baseline="0" noProof="0" dirty="0">
                <a:ln>
                  <a:noFill/>
                </a:ln>
                <a:solidFill>
                  <a:srgbClr val="5AACD6"/>
                </a:solidFill>
                <a:effectLst/>
                <a:uLnTx/>
                <a:uFillTx/>
                <a:latin typeface="Avenir Next LT Pro Demi" panose="020B0704020202020204" pitchFamily="34" charset="0"/>
                <a:ea typeface="+mn-ea"/>
                <a:cs typeface="+mn-cs"/>
              </a:rPr>
              <a:t>POPULATION</a:t>
            </a:r>
          </a:p>
        </p:txBody>
      </p:sp>
      <p:grpSp>
        <p:nvGrpSpPr>
          <p:cNvPr id="14" name="Group 13">
            <a:extLst>
              <a:ext uri="{FF2B5EF4-FFF2-40B4-BE49-F238E27FC236}">
                <a16:creationId xmlns:a16="http://schemas.microsoft.com/office/drawing/2014/main" id="{1BC69F26-1F60-4D99-4948-7393CAD8BE09}"/>
              </a:ext>
            </a:extLst>
          </p:cNvPr>
          <p:cNvGrpSpPr/>
          <p:nvPr/>
        </p:nvGrpSpPr>
        <p:grpSpPr>
          <a:xfrm>
            <a:off x="7732013" y="1289558"/>
            <a:ext cx="3903237" cy="3230814"/>
            <a:chOff x="4115668" y="1714500"/>
            <a:chExt cx="3903237" cy="3230814"/>
          </a:xfrm>
        </p:grpSpPr>
        <p:grpSp>
          <p:nvGrpSpPr>
            <p:cNvPr id="15" name="Group 14">
              <a:extLst>
                <a:ext uri="{FF2B5EF4-FFF2-40B4-BE49-F238E27FC236}">
                  <a16:creationId xmlns:a16="http://schemas.microsoft.com/office/drawing/2014/main" id="{01DB242D-3D86-E3B4-83AE-1F2EF55A5D8D}"/>
                </a:ext>
              </a:extLst>
            </p:cNvPr>
            <p:cNvGrpSpPr/>
            <p:nvPr/>
          </p:nvGrpSpPr>
          <p:grpSpPr>
            <a:xfrm>
              <a:off x="4115668" y="1714500"/>
              <a:ext cx="3870702" cy="3138342"/>
              <a:chOff x="4115668" y="1714500"/>
              <a:chExt cx="3870702" cy="3138342"/>
            </a:xfrm>
          </p:grpSpPr>
          <p:grpSp>
            <p:nvGrpSpPr>
              <p:cNvPr id="24" name="Group 23">
                <a:extLst>
                  <a:ext uri="{FF2B5EF4-FFF2-40B4-BE49-F238E27FC236}">
                    <a16:creationId xmlns:a16="http://schemas.microsoft.com/office/drawing/2014/main" id="{CBA81DF5-A503-8AE5-432D-01CA24264CB7}"/>
                  </a:ext>
                </a:extLst>
              </p:cNvPr>
              <p:cNvGrpSpPr/>
              <p:nvPr/>
            </p:nvGrpSpPr>
            <p:grpSpPr>
              <a:xfrm>
                <a:off x="4147563" y="1714500"/>
                <a:ext cx="3803064" cy="1043241"/>
                <a:chOff x="4147563" y="1714500"/>
                <a:chExt cx="3803064" cy="1043241"/>
              </a:xfrm>
            </p:grpSpPr>
            <p:sp>
              <p:nvSpPr>
                <p:cNvPr id="522" name="Oval 521">
                  <a:extLst>
                    <a:ext uri="{FF2B5EF4-FFF2-40B4-BE49-F238E27FC236}">
                      <a16:creationId xmlns:a16="http://schemas.microsoft.com/office/drawing/2014/main" id="{5B0102E2-ED7E-D432-D7D7-DDA0A5179E84}"/>
                    </a:ext>
                  </a:extLst>
                </p:cNvPr>
                <p:cNvSpPr/>
                <p:nvPr/>
              </p:nvSpPr>
              <p:spPr>
                <a:xfrm>
                  <a:off x="4147563" y="1788395"/>
                  <a:ext cx="110723" cy="116619"/>
                </a:xfrm>
                <a:prstGeom prst="ellipse">
                  <a:avLst/>
                </a:prstGeom>
                <a:solidFill>
                  <a:srgbClr val="F2A92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23" name="Oval 522">
                  <a:extLst>
                    <a:ext uri="{FF2B5EF4-FFF2-40B4-BE49-F238E27FC236}">
                      <a16:creationId xmlns:a16="http://schemas.microsoft.com/office/drawing/2014/main" id="{34E0DF0C-878B-07DA-19AE-AAEFC993DB5F}"/>
                    </a:ext>
                  </a:extLst>
                </p:cNvPr>
                <p:cNvSpPr/>
                <p:nvPr/>
              </p:nvSpPr>
              <p:spPr>
                <a:xfrm>
                  <a:off x="4621468" y="1786169"/>
                  <a:ext cx="110723" cy="116619"/>
                </a:xfrm>
                <a:prstGeom prst="ellipse">
                  <a:avLst/>
                </a:prstGeom>
                <a:solidFill>
                  <a:srgbClr val="F2A92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24" name="Oval 523">
                  <a:extLst>
                    <a:ext uri="{FF2B5EF4-FFF2-40B4-BE49-F238E27FC236}">
                      <a16:creationId xmlns:a16="http://schemas.microsoft.com/office/drawing/2014/main" id="{5919E13B-44F4-7C53-5DA4-296F383606FE}"/>
                    </a:ext>
                  </a:extLst>
                </p:cNvPr>
                <p:cNvSpPr/>
                <p:nvPr/>
              </p:nvSpPr>
              <p:spPr>
                <a:xfrm>
                  <a:off x="4316551" y="1714500"/>
                  <a:ext cx="110723" cy="116619"/>
                </a:xfrm>
                <a:prstGeom prst="ellipse">
                  <a:avLst/>
                </a:prstGeom>
                <a:solidFill>
                  <a:srgbClr val="F2A92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25" name="Oval 524">
                  <a:extLst>
                    <a:ext uri="{FF2B5EF4-FFF2-40B4-BE49-F238E27FC236}">
                      <a16:creationId xmlns:a16="http://schemas.microsoft.com/office/drawing/2014/main" id="{490A9CF7-0DC7-EF4D-380C-07A3E4D5639D}"/>
                    </a:ext>
                  </a:extLst>
                </p:cNvPr>
                <p:cNvSpPr/>
                <p:nvPr/>
              </p:nvSpPr>
              <p:spPr>
                <a:xfrm>
                  <a:off x="4552268" y="1964721"/>
                  <a:ext cx="110723" cy="116619"/>
                </a:xfrm>
                <a:prstGeom prst="ellipse">
                  <a:avLst/>
                </a:prstGeom>
                <a:solidFill>
                  <a:srgbClr val="F2A92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26" name="Oval 525">
                  <a:extLst>
                    <a:ext uri="{FF2B5EF4-FFF2-40B4-BE49-F238E27FC236}">
                      <a16:creationId xmlns:a16="http://schemas.microsoft.com/office/drawing/2014/main" id="{53D54752-3EF3-2383-B725-6EBEA7FC9274}"/>
                    </a:ext>
                  </a:extLst>
                </p:cNvPr>
                <p:cNvSpPr/>
                <p:nvPr/>
              </p:nvSpPr>
              <p:spPr>
                <a:xfrm>
                  <a:off x="4897668" y="1779546"/>
                  <a:ext cx="110723" cy="116619"/>
                </a:xfrm>
                <a:prstGeom prst="ellipse">
                  <a:avLst/>
                </a:prstGeom>
                <a:solidFill>
                  <a:srgbClr val="F2A92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27" name="Oval 526">
                  <a:extLst>
                    <a:ext uri="{FF2B5EF4-FFF2-40B4-BE49-F238E27FC236}">
                      <a16:creationId xmlns:a16="http://schemas.microsoft.com/office/drawing/2014/main" id="{D86C78ED-A523-33C9-FCC4-2576038AAA7E}"/>
                    </a:ext>
                  </a:extLst>
                </p:cNvPr>
                <p:cNvSpPr/>
                <p:nvPr/>
              </p:nvSpPr>
              <p:spPr>
                <a:xfrm>
                  <a:off x="4992378" y="1924607"/>
                  <a:ext cx="110723" cy="116619"/>
                </a:xfrm>
                <a:prstGeom prst="ellipse">
                  <a:avLst/>
                </a:prstGeom>
                <a:solidFill>
                  <a:srgbClr val="F2A92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28" name="Oval 527">
                  <a:extLst>
                    <a:ext uri="{FF2B5EF4-FFF2-40B4-BE49-F238E27FC236}">
                      <a16:creationId xmlns:a16="http://schemas.microsoft.com/office/drawing/2014/main" id="{5DB4952C-EFE7-1D1F-631C-3096391832C8}"/>
                    </a:ext>
                  </a:extLst>
                </p:cNvPr>
                <p:cNvSpPr/>
                <p:nvPr/>
              </p:nvSpPr>
              <p:spPr>
                <a:xfrm>
                  <a:off x="4299963" y="1940795"/>
                  <a:ext cx="110723" cy="116619"/>
                </a:xfrm>
                <a:prstGeom prst="ellipse">
                  <a:avLst/>
                </a:prstGeom>
                <a:solidFill>
                  <a:srgbClr val="F2A92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29" name="Oval 528">
                  <a:extLst>
                    <a:ext uri="{FF2B5EF4-FFF2-40B4-BE49-F238E27FC236}">
                      <a16:creationId xmlns:a16="http://schemas.microsoft.com/office/drawing/2014/main" id="{FF674A72-C927-1FB0-1780-3290F32C0DAE}"/>
                    </a:ext>
                  </a:extLst>
                </p:cNvPr>
                <p:cNvSpPr/>
                <p:nvPr/>
              </p:nvSpPr>
              <p:spPr>
                <a:xfrm>
                  <a:off x="5901229" y="2037866"/>
                  <a:ext cx="110723" cy="116619"/>
                </a:xfrm>
                <a:prstGeom prst="ellipse">
                  <a:avLst/>
                </a:prstGeom>
                <a:solidFill>
                  <a:srgbClr val="F2A92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30" name="Oval 529">
                  <a:extLst>
                    <a:ext uri="{FF2B5EF4-FFF2-40B4-BE49-F238E27FC236}">
                      <a16:creationId xmlns:a16="http://schemas.microsoft.com/office/drawing/2014/main" id="{B321B01C-DC77-C77C-74E8-D4CAFEA9A25F}"/>
                    </a:ext>
                  </a:extLst>
                </p:cNvPr>
                <p:cNvSpPr/>
                <p:nvPr/>
              </p:nvSpPr>
              <p:spPr>
                <a:xfrm>
                  <a:off x="5890015" y="1857375"/>
                  <a:ext cx="110723" cy="116619"/>
                </a:xfrm>
                <a:prstGeom prst="ellipse">
                  <a:avLst/>
                </a:prstGeom>
                <a:solidFill>
                  <a:srgbClr val="F2A92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32" name="Oval 531">
                  <a:extLst>
                    <a:ext uri="{FF2B5EF4-FFF2-40B4-BE49-F238E27FC236}">
                      <a16:creationId xmlns:a16="http://schemas.microsoft.com/office/drawing/2014/main" id="{0A617FEB-2EF0-1E92-1998-F2EABE63E920}"/>
                    </a:ext>
                  </a:extLst>
                </p:cNvPr>
                <p:cNvSpPr/>
                <p:nvPr/>
              </p:nvSpPr>
              <p:spPr>
                <a:xfrm>
                  <a:off x="6106275" y="2354483"/>
                  <a:ext cx="110723" cy="116619"/>
                </a:xfrm>
                <a:prstGeom prst="ellipse">
                  <a:avLst/>
                </a:prstGeom>
                <a:solidFill>
                  <a:srgbClr val="F2A92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33" name="Oval 532">
                  <a:extLst>
                    <a:ext uri="{FF2B5EF4-FFF2-40B4-BE49-F238E27FC236}">
                      <a16:creationId xmlns:a16="http://schemas.microsoft.com/office/drawing/2014/main" id="{189550E6-62E2-E4C8-1DAB-71A01F7D65E1}"/>
                    </a:ext>
                  </a:extLst>
                </p:cNvPr>
                <p:cNvSpPr/>
                <p:nvPr/>
              </p:nvSpPr>
              <p:spPr>
                <a:xfrm>
                  <a:off x="6214705" y="2354483"/>
                  <a:ext cx="110723" cy="116619"/>
                </a:xfrm>
                <a:prstGeom prst="ellipse">
                  <a:avLst/>
                </a:prstGeom>
                <a:solidFill>
                  <a:srgbClr val="F2A92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34" name="Oval 533">
                  <a:extLst>
                    <a:ext uri="{FF2B5EF4-FFF2-40B4-BE49-F238E27FC236}">
                      <a16:creationId xmlns:a16="http://schemas.microsoft.com/office/drawing/2014/main" id="{CED505B6-3FF0-9447-FCC0-B5DDF79874FA}"/>
                    </a:ext>
                  </a:extLst>
                </p:cNvPr>
                <p:cNvSpPr/>
                <p:nvPr/>
              </p:nvSpPr>
              <p:spPr>
                <a:xfrm>
                  <a:off x="6004409" y="2429767"/>
                  <a:ext cx="110723" cy="116619"/>
                </a:xfrm>
                <a:prstGeom prst="ellipse">
                  <a:avLst/>
                </a:prstGeom>
                <a:solidFill>
                  <a:srgbClr val="F2A92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35" name="Oval 534">
                  <a:extLst>
                    <a:ext uri="{FF2B5EF4-FFF2-40B4-BE49-F238E27FC236}">
                      <a16:creationId xmlns:a16="http://schemas.microsoft.com/office/drawing/2014/main" id="{0016F77C-A6E1-8640-7DCE-57906619080F}"/>
                    </a:ext>
                  </a:extLst>
                </p:cNvPr>
                <p:cNvSpPr/>
                <p:nvPr/>
              </p:nvSpPr>
              <p:spPr>
                <a:xfrm>
                  <a:off x="6001021" y="2560615"/>
                  <a:ext cx="110723" cy="116619"/>
                </a:xfrm>
                <a:prstGeom prst="ellipse">
                  <a:avLst/>
                </a:prstGeom>
                <a:solidFill>
                  <a:srgbClr val="F2A92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36" name="Oval 535">
                  <a:extLst>
                    <a:ext uri="{FF2B5EF4-FFF2-40B4-BE49-F238E27FC236}">
                      <a16:creationId xmlns:a16="http://schemas.microsoft.com/office/drawing/2014/main" id="{F8944C53-F3FC-9F8F-AAC8-713B2500AA65}"/>
                    </a:ext>
                  </a:extLst>
                </p:cNvPr>
                <p:cNvSpPr/>
                <p:nvPr/>
              </p:nvSpPr>
              <p:spPr>
                <a:xfrm>
                  <a:off x="6104856" y="2641122"/>
                  <a:ext cx="110723" cy="116619"/>
                </a:xfrm>
                <a:prstGeom prst="ellipse">
                  <a:avLst/>
                </a:prstGeom>
                <a:solidFill>
                  <a:srgbClr val="F2A92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37" name="Oval 536">
                  <a:extLst>
                    <a:ext uri="{FF2B5EF4-FFF2-40B4-BE49-F238E27FC236}">
                      <a16:creationId xmlns:a16="http://schemas.microsoft.com/office/drawing/2014/main" id="{38ED9E1E-03A7-40BA-275E-BAA0A18A94F4}"/>
                    </a:ext>
                  </a:extLst>
                </p:cNvPr>
                <p:cNvSpPr/>
                <p:nvPr/>
              </p:nvSpPr>
              <p:spPr>
                <a:xfrm>
                  <a:off x="7104268" y="2253774"/>
                  <a:ext cx="110723" cy="116619"/>
                </a:xfrm>
                <a:prstGeom prst="ellipse">
                  <a:avLst/>
                </a:prstGeom>
                <a:solidFill>
                  <a:srgbClr val="F2A92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38" name="Oval 537">
                  <a:extLst>
                    <a:ext uri="{FF2B5EF4-FFF2-40B4-BE49-F238E27FC236}">
                      <a16:creationId xmlns:a16="http://schemas.microsoft.com/office/drawing/2014/main" id="{2EEB074B-1E54-5699-73B2-4E51E3A03F32}"/>
                    </a:ext>
                  </a:extLst>
                </p:cNvPr>
                <p:cNvSpPr/>
                <p:nvPr/>
              </p:nvSpPr>
              <p:spPr>
                <a:xfrm>
                  <a:off x="7270429" y="2500022"/>
                  <a:ext cx="110723" cy="116619"/>
                </a:xfrm>
                <a:prstGeom prst="ellipse">
                  <a:avLst/>
                </a:prstGeom>
                <a:solidFill>
                  <a:srgbClr val="F2A92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39" name="Oval 538">
                  <a:extLst>
                    <a:ext uri="{FF2B5EF4-FFF2-40B4-BE49-F238E27FC236}">
                      <a16:creationId xmlns:a16="http://schemas.microsoft.com/office/drawing/2014/main" id="{1676AA6C-ABB5-2C78-6957-AD4FD5C39309}"/>
                    </a:ext>
                  </a:extLst>
                </p:cNvPr>
                <p:cNvSpPr/>
                <p:nvPr/>
              </p:nvSpPr>
              <p:spPr>
                <a:xfrm>
                  <a:off x="7385459" y="2379698"/>
                  <a:ext cx="110723" cy="116619"/>
                </a:xfrm>
                <a:prstGeom prst="ellipse">
                  <a:avLst/>
                </a:prstGeom>
                <a:solidFill>
                  <a:srgbClr val="F2A92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40" name="Oval 539">
                  <a:extLst>
                    <a:ext uri="{FF2B5EF4-FFF2-40B4-BE49-F238E27FC236}">
                      <a16:creationId xmlns:a16="http://schemas.microsoft.com/office/drawing/2014/main" id="{E3645F1E-E423-428D-E5FD-1AFB7D3FA8B7}"/>
                    </a:ext>
                  </a:extLst>
                </p:cNvPr>
                <p:cNvSpPr/>
                <p:nvPr/>
              </p:nvSpPr>
              <p:spPr>
                <a:xfrm>
                  <a:off x="7356956" y="1832187"/>
                  <a:ext cx="110723" cy="116619"/>
                </a:xfrm>
                <a:prstGeom prst="ellipse">
                  <a:avLst/>
                </a:prstGeom>
                <a:solidFill>
                  <a:srgbClr val="F2A92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41" name="Oval 540">
                  <a:extLst>
                    <a:ext uri="{FF2B5EF4-FFF2-40B4-BE49-F238E27FC236}">
                      <a16:creationId xmlns:a16="http://schemas.microsoft.com/office/drawing/2014/main" id="{FB7A3564-34B8-1B21-903D-92E857D081A0}"/>
                    </a:ext>
                  </a:extLst>
                </p:cNvPr>
                <p:cNvSpPr/>
                <p:nvPr/>
              </p:nvSpPr>
              <p:spPr>
                <a:xfrm>
                  <a:off x="7839904" y="1831900"/>
                  <a:ext cx="110723" cy="116619"/>
                </a:xfrm>
                <a:prstGeom prst="ellipse">
                  <a:avLst/>
                </a:prstGeom>
                <a:solidFill>
                  <a:srgbClr val="F2A92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42" name="Oval 541">
                  <a:extLst>
                    <a:ext uri="{FF2B5EF4-FFF2-40B4-BE49-F238E27FC236}">
                      <a16:creationId xmlns:a16="http://schemas.microsoft.com/office/drawing/2014/main" id="{A0DD6974-A7A4-5A0F-24D9-35A61E8BA79C}"/>
                    </a:ext>
                  </a:extLst>
                </p:cNvPr>
                <p:cNvSpPr/>
                <p:nvPr/>
              </p:nvSpPr>
              <p:spPr>
                <a:xfrm>
                  <a:off x="4452363" y="2093195"/>
                  <a:ext cx="110723" cy="116619"/>
                </a:xfrm>
                <a:prstGeom prst="ellipse">
                  <a:avLst/>
                </a:prstGeom>
                <a:solidFill>
                  <a:srgbClr val="F2A92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43" name="Oval 542">
                  <a:extLst>
                    <a:ext uri="{FF2B5EF4-FFF2-40B4-BE49-F238E27FC236}">
                      <a16:creationId xmlns:a16="http://schemas.microsoft.com/office/drawing/2014/main" id="{354FF2A7-F795-084C-9227-3FE277958DD4}"/>
                    </a:ext>
                  </a:extLst>
                </p:cNvPr>
                <p:cNvSpPr/>
                <p:nvPr/>
              </p:nvSpPr>
              <p:spPr>
                <a:xfrm>
                  <a:off x="4604763" y="2245595"/>
                  <a:ext cx="110723" cy="116619"/>
                </a:xfrm>
                <a:prstGeom prst="ellipse">
                  <a:avLst/>
                </a:prstGeom>
                <a:solidFill>
                  <a:srgbClr val="F2A92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44" name="Oval 543">
                  <a:extLst>
                    <a:ext uri="{FF2B5EF4-FFF2-40B4-BE49-F238E27FC236}">
                      <a16:creationId xmlns:a16="http://schemas.microsoft.com/office/drawing/2014/main" id="{0BAD3C8C-A2AF-2AF7-F963-374F56001357}"/>
                    </a:ext>
                  </a:extLst>
                </p:cNvPr>
                <p:cNvSpPr/>
                <p:nvPr/>
              </p:nvSpPr>
              <p:spPr>
                <a:xfrm>
                  <a:off x="4757163" y="2397995"/>
                  <a:ext cx="110723" cy="116619"/>
                </a:xfrm>
                <a:prstGeom prst="ellipse">
                  <a:avLst/>
                </a:prstGeom>
                <a:solidFill>
                  <a:srgbClr val="F2A92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grpSp>
          <p:grpSp>
            <p:nvGrpSpPr>
              <p:cNvPr id="26" name="Group 25">
                <a:extLst>
                  <a:ext uri="{FF2B5EF4-FFF2-40B4-BE49-F238E27FC236}">
                    <a16:creationId xmlns:a16="http://schemas.microsoft.com/office/drawing/2014/main" id="{916A5C6E-80AC-0F1A-4DA5-AD38191674E8}"/>
                  </a:ext>
                </a:extLst>
              </p:cNvPr>
              <p:cNvGrpSpPr/>
              <p:nvPr/>
            </p:nvGrpSpPr>
            <p:grpSpPr>
              <a:xfrm>
                <a:off x="4115668" y="3295961"/>
                <a:ext cx="3870702" cy="1556881"/>
                <a:chOff x="4115668" y="3295961"/>
                <a:chExt cx="3870702" cy="1556881"/>
              </a:xfrm>
            </p:grpSpPr>
            <p:sp>
              <p:nvSpPr>
                <p:cNvPr id="27" name="Oval 26">
                  <a:extLst>
                    <a:ext uri="{FF2B5EF4-FFF2-40B4-BE49-F238E27FC236}">
                      <a16:creationId xmlns:a16="http://schemas.microsoft.com/office/drawing/2014/main" id="{DCBC39F1-9213-A683-53D4-3F1E00B372DC}"/>
                    </a:ext>
                  </a:extLst>
                </p:cNvPr>
                <p:cNvSpPr/>
                <p:nvPr/>
              </p:nvSpPr>
              <p:spPr>
                <a:xfrm>
                  <a:off x="6480449" y="3390646"/>
                  <a:ext cx="110723" cy="116619"/>
                </a:xfrm>
                <a:prstGeom prst="ellipse">
                  <a:avLst/>
                </a:prstGeom>
                <a:solidFill>
                  <a:srgbClr val="F2A92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28" name="Oval 27">
                  <a:extLst>
                    <a:ext uri="{FF2B5EF4-FFF2-40B4-BE49-F238E27FC236}">
                      <a16:creationId xmlns:a16="http://schemas.microsoft.com/office/drawing/2014/main" id="{A176656D-6651-5108-B4BC-3B04A9F1FE01}"/>
                    </a:ext>
                  </a:extLst>
                </p:cNvPr>
                <p:cNvSpPr/>
                <p:nvPr/>
              </p:nvSpPr>
              <p:spPr>
                <a:xfrm>
                  <a:off x="4555834" y="4041132"/>
                  <a:ext cx="110723" cy="116619"/>
                </a:xfrm>
                <a:prstGeom prst="ellipse">
                  <a:avLst/>
                </a:prstGeom>
                <a:solidFill>
                  <a:srgbClr val="F2A92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29" name="Oval 28">
                  <a:extLst>
                    <a:ext uri="{FF2B5EF4-FFF2-40B4-BE49-F238E27FC236}">
                      <a16:creationId xmlns:a16="http://schemas.microsoft.com/office/drawing/2014/main" id="{0980F1CA-C59D-3011-F53B-C1E496B39969}"/>
                    </a:ext>
                  </a:extLst>
                </p:cNvPr>
                <p:cNvSpPr/>
                <p:nvPr/>
              </p:nvSpPr>
              <p:spPr>
                <a:xfrm>
                  <a:off x="4115668" y="3693371"/>
                  <a:ext cx="110723" cy="116619"/>
                </a:xfrm>
                <a:prstGeom prst="ellipse">
                  <a:avLst/>
                </a:prstGeom>
                <a:solidFill>
                  <a:srgbClr val="F2A92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30" name="Oval 29">
                  <a:extLst>
                    <a:ext uri="{FF2B5EF4-FFF2-40B4-BE49-F238E27FC236}">
                      <a16:creationId xmlns:a16="http://schemas.microsoft.com/office/drawing/2014/main" id="{FF98B953-E5FA-8FAF-2880-E2865E90B558}"/>
                    </a:ext>
                  </a:extLst>
                </p:cNvPr>
                <p:cNvSpPr/>
                <p:nvPr/>
              </p:nvSpPr>
              <p:spPr>
                <a:xfrm>
                  <a:off x="4405769" y="4041049"/>
                  <a:ext cx="110723" cy="116619"/>
                </a:xfrm>
                <a:prstGeom prst="ellipse">
                  <a:avLst/>
                </a:prstGeom>
                <a:solidFill>
                  <a:srgbClr val="F2A92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31" name="Oval 30">
                  <a:extLst>
                    <a:ext uri="{FF2B5EF4-FFF2-40B4-BE49-F238E27FC236}">
                      <a16:creationId xmlns:a16="http://schemas.microsoft.com/office/drawing/2014/main" id="{85EFFC83-0FA8-E4A6-EB75-23A0189B8A0E}"/>
                    </a:ext>
                  </a:extLst>
                </p:cNvPr>
                <p:cNvSpPr/>
                <p:nvPr/>
              </p:nvSpPr>
              <p:spPr>
                <a:xfrm>
                  <a:off x="7229533" y="3295961"/>
                  <a:ext cx="110723" cy="116619"/>
                </a:xfrm>
                <a:prstGeom prst="ellipse">
                  <a:avLst/>
                </a:prstGeom>
                <a:solidFill>
                  <a:srgbClr val="F2A92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12" name="Oval 511">
                  <a:extLst>
                    <a:ext uri="{FF2B5EF4-FFF2-40B4-BE49-F238E27FC236}">
                      <a16:creationId xmlns:a16="http://schemas.microsoft.com/office/drawing/2014/main" id="{73D3880A-9313-F8F9-9F44-3B3D20A86A86}"/>
                    </a:ext>
                  </a:extLst>
                </p:cNvPr>
                <p:cNvSpPr/>
                <p:nvPr/>
              </p:nvSpPr>
              <p:spPr>
                <a:xfrm>
                  <a:off x="6341866" y="3388602"/>
                  <a:ext cx="110723" cy="116619"/>
                </a:xfrm>
                <a:prstGeom prst="ellipse">
                  <a:avLst/>
                </a:prstGeom>
                <a:solidFill>
                  <a:srgbClr val="F2A92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13" name="Oval 512">
                  <a:extLst>
                    <a:ext uri="{FF2B5EF4-FFF2-40B4-BE49-F238E27FC236}">
                      <a16:creationId xmlns:a16="http://schemas.microsoft.com/office/drawing/2014/main" id="{9BF2F690-CEE5-00BE-19AC-C874182FAE4D}"/>
                    </a:ext>
                  </a:extLst>
                </p:cNvPr>
                <p:cNvSpPr/>
                <p:nvPr/>
              </p:nvSpPr>
              <p:spPr>
                <a:xfrm>
                  <a:off x="6534720" y="3772983"/>
                  <a:ext cx="110723" cy="116619"/>
                </a:xfrm>
                <a:prstGeom prst="ellipse">
                  <a:avLst/>
                </a:prstGeom>
                <a:solidFill>
                  <a:srgbClr val="F2A92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14" name="Oval 513">
                  <a:extLst>
                    <a:ext uri="{FF2B5EF4-FFF2-40B4-BE49-F238E27FC236}">
                      <a16:creationId xmlns:a16="http://schemas.microsoft.com/office/drawing/2014/main" id="{22F1BFDA-827F-30BC-C1D7-4811C2A86F7A}"/>
                    </a:ext>
                  </a:extLst>
                </p:cNvPr>
                <p:cNvSpPr/>
                <p:nvPr/>
              </p:nvSpPr>
              <p:spPr>
                <a:xfrm>
                  <a:off x="7875647" y="4676724"/>
                  <a:ext cx="110723" cy="116619"/>
                </a:xfrm>
                <a:prstGeom prst="ellipse">
                  <a:avLst/>
                </a:prstGeom>
                <a:solidFill>
                  <a:srgbClr val="F2A92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15" name="Oval 514">
                  <a:extLst>
                    <a:ext uri="{FF2B5EF4-FFF2-40B4-BE49-F238E27FC236}">
                      <a16:creationId xmlns:a16="http://schemas.microsoft.com/office/drawing/2014/main" id="{A1795504-36A9-A044-04E4-DD91D29E1377}"/>
                    </a:ext>
                  </a:extLst>
                </p:cNvPr>
                <p:cNvSpPr/>
                <p:nvPr/>
              </p:nvSpPr>
              <p:spPr>
                <a:xfrm>
                  <a:off x="5956530" y="4492278"/>
                  <a:ext cx="110723" cy="116619"/>
                </a:xfrm>
                <a:prstGeom prst="ellipse">
                  <a:avLst/>
                </a:prstGeom>
                <a:solidFill>
                  <a:srgbClr val="F2A92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16" name="Oval 515">
                  <a:extLst>
                    <a:ext uri="{FF2B5EF4-FFF2-40B4-BE49-F238E27FC236}">
                      <a16:creationId xmlns:a16="http://schemas.microsoft.com/office/drawing/2014/main" id="{21742A32-3AF9-670B-B0A3-B73D34D3E6B4}"/>
                    </a:ext>
                  </a:extLst>
                </p:cNvPr>
                <p:cNvSpPr/>
                <p:nvPr/>
              </p:nvSpPr>
              <p:spPr>
                <a:xfrm>
                  <a:off x="5182833" y="4396368"/>
                  <a:ext cx="110723" cy="116619"/>
                </a:xfrm>
                <a:prstGeom prst="ellipse">
                  <a:avLst/>
                </a:prstGeom>
                <a:solidFill>
                  <a:srgbClr val="F2A92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17" name="Oval 516">
                  <a:extLst>
                    <a:ext uri="{FF2B5EF4-FFF2-40B4-BE49-F238E27FC236}">
                      <a16:creationId xmlns:a16="http://schemas.microsoft.com/office/drawing/2014/main" id="{2D006E2E-0FB6-9B2E-BC2D-ABF222E016AF}"/>
                    </a:ext>
                  </a:extLst>
                </p:cNvPr>
                <p:cNvSpPr/>
                <p:nvPr/>
              </p:nvSpPr>
              <p:spPr>
                <a:xfrm>
                  <a:off x="4285109" y="4628241"/>
                  <a:ext cx="110723" cy="116619"/>
                </a:xfrm>
                <a:prstGeom prst="ellipse">
                  <a:avLst/>
                </a:prstGeom>
                <a:solidFill>
                  <a:srgbClr val="F2A92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18" name="Oval 517">
                  <a:extLst>
                    <a:ext uri="{FF2B5EF4-FFF2-40B4-BE49-F238E27FC236}">
                      <a16:creationId xmlns:a16="http://schemas.microsoft.com/office/drawing/2014/main" id="{A0FE2E8A-3945-C8DB-E658-78558EA31D79}"/>
                    </a:ext>
                  </a:extLst>
                </p:cNvPr>
                <p:cNvSpPr/>
                <p:nvPr/>
              </p:nvSpPr>
              <p:spPr>
                <a:xfrm>
                  <a:off x="4949441" y="4594872"/>
                  <a:ext cx="110723" cy="116619"/>
                </a:xfrm>
                <a:prstGeom prst="ellipse">
                  <a:avLst/>
                </a:prstGeom>
                <a:solidFill>
                  <a:srgbClr val="F2A92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19" name="Oval 518">
                  <a:extLst>
                    <a:ext uri="{FF2B5EF4-FFF2-40B4-BE49-F238E27FC236}">
                      <a16:creationId xmlns:a16="http://schemas.microsoft.com/office/drawing/2014/main" id="{26E16E4E-41DC-B946-093A-D64B443FBD00}"/>
                    </a:ext>
                  </a:extLst>
                </p:cNvPr>
                <p:cNvSpPr/>
                <p:nvPr/>
              </p:nvSpPr>
              <p:spPr>
                <a:xfrm>
                  <a:off x="6295810" y="4724521"/>
                  <a:ext cx="110723" cy="116619"/>
                </a:xfrm>
                <a:prstGeom prst="ellipse">
                  <a:avLst/>
                </a:prstGeom>
                <a:solidFill>
                  <a:srgbClr val="F2A92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20" name="Oval 519">
                  <a:extLst>
                    <a:ext uri="{FF2B5EF4-FFF2-40B4-BE49-F238E27FC236}">
                      <a16:creationId xmlns:a16="http://schemas.microsoft.com/office/drawing/2014/main" id="{1E38AA83-B006-894B-B5C9-D79628AE571B}"/>
                    </a:ext>
                  </a:extLst>
                </p:cNvPr>
                <p:cNvSpPr/>
                <p:nvPr/>
              </p:nvSpPr>
              <p:spPr>
                <a:xfrm>
                  <a:off x="7010741" y="4454677"/>
                  <a:ext cx="110723" cy="116619"/>
                </a:xfrm>
                <a:prstGeom prst="ellipse">
                  <a:avLst/>
                </a:prstGeom>
                <a:solidFill>
                  <a:srgbClr val="F2A92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21" name="Oval 520">
                  <a:extLst>
                    <a:ext uri="{FF2B5EF4-FFF2-40B4-BE49-F238E27FC236}">
                      <a16:creationId xmlns:a16="http://schemas.microsoft.com/office/drawing/2014/main" id="{0936C35E-AF24-129A-656D-DDE89EF1CF50}"/>
                    </a:ext>
                  </a:extLst>
                </p:cNvPr>
                <p:cNvSpPr/>
                <p:nvPr/>
              </p:nvSpPr>
              <p:spPr>
                <a:xfrm>
                  <a:off x="6657923" y="4736223"/>
                  <a:ext cx="110723" cy="116619"/>
                </a:xfrm>
                <a:prstGeom prst="ellipse">
                  <a:avLst/>
                </a:prstGeom>
                <a:solidFill>
                  <a:srgbClr val="F2A92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grpSp>
        </p:grpSp>
        <p:sp>
          <p:nvSpPr>
            <p:cNvPr id="16" name="Oval 15">
              <a:extLst>
                <a:ext uri="{FF2B5EF4-FFF2-40B4-BE49-F238E27FC236}">
                  <a16:creationId xmlns:a16="http://schemas.microsoft.com/office/drawing/2014/main" id="{FABB380A-9904-4500-D82F-4D4F97FA4729}"/>
                </a:ext>
              </a:extLst>
            </p:cNvPr>
            <p:cNvSpPr/>
            <p:nvPr/>
          </p:nvSpPr>
          <p:spPr>
            <a:xfrm>
              <a:off x="4937284" y="4828695"/>
              <a:ext cx="110723" cy="116619"/>
            </a:xfrm>
            <a:prstGeom prst="ellipse">
              <a:avLst/>
            </a:prstGeom>
            <a:solidFill>
              <a:srgbClr val="F2A92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17" name="Oval 16">
              <a:extLst>
                <a:ext uri="{FF2B5EF4-FFF2-40B4-BE49-F238E27FC236}">
                  <a16:creationId xmlns:a16="http://schemas.microsoft.com/office/drawing/2014/main" id="{4802C2A8-CA26-CF00-CAEE-CA755CEC6372}"/>
                </a:ext>
              </a:extLst>
            </p:cNvPr>
            <p:cNvSpPr/>
            <p:nvPr/>
          </p:nvSpPr>
          <p:spPr>
            <a:xfrm>
              <a:off x="4298531" y="3697520"/>
              <a:ext cx="110723" cy="116619"/>
            </a:xfrm>
            <a:prstGeom prst="ellipse">
              <a:avLst/>
            </a:prstGeom>
            <a:solidFill>
              <a:srgbClr val="F2A92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18" name="Oval 17">
              <a:extLst>
                <a:ext uri="{FF2B5EF4-FFF2-40B4-BE49-F238E27FC236}">
                  <a16:creationId xmlns:a16="http://schemas.microsoft.com/office/drawing/2014/main" id="{2014016B-9AFB-E966-7065-737E8C834C6A}"/>
                </a:ext>
              </a:extLst>
            </p:cNvPr>
            <p:cNvSpPr/>
            <p:nvPr/>
          </p:nvSpPr>
          <p:spPr>
            <a:xfrm>
              <a:off x="4534098" y="2583725"/>
              <a:ext cx="110723" cy="116619"/>
            </a:xfrm>
            <a:prstGeom prst="ellipse">
              <a:avLst/>
            </a:prstGeom>
            <a:solidFill>
              <a:srgbClr val="F2A92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19" name="Oval 18">
              <a:extLst>
                <a:ext uri="{FF2B5EF4-FFF2-40B4-BE49-F238E27FC236}">
                  <a16:creationId xmlns:a16="http://schemas.microsoft.com/office/drawing/2014/main" id="{785DAFDE-8013-35F6-5F96-B03E6F96D1BC}"/>
                </a:ext>
              </a:extLst>
            </p:cNvPr>
            <p:cNvSpPr/>
            <p:nvPr/>
          </p:nvSpPr>
          <p:spPr>
            <a:xfrm>
              <a:off x="4323596" y="2591797"/>
              <a:ext cx="110723" cy="116619"/>
            </a:xfrm>
            <a:prstGeom prst="ellipse">
              <a:avLst/>
            </a:prstGeom>
            <a:solidFill>
              <a:srgbClr val="F2A92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21" name="Oval 20">
              <a:extLst>
                <a:ext uri="{FF2B5EF4-FFF2-40B4-BE49-F238E27FC236}">
                  <a16:creationId xmlns:a16="http://schemas.microsoft.com/office/drawing/2014/main" id="{19396EAE-A4AA-B804-D9C8-A2496DB16AE4}"/>
                </a:ext>
              </a:extLst>
            </p:cNvPr>
            <p:cNvSpPr/>
            <p:nvPr/>
          </p:nvSpPr>
          <p:spPr>
            <a:xfrm>
              <a:off x="7908182" y="3155893"/>
              <a:ext cx="110723" cy="116619"/>
            </a:xfrm>
            <a:prstGeom prst="ellipse">
              <a:avLst/>
            </a:prstGeom>
            <a:solidFill>
              <a:srgbClr val="F2A92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22" name="Oval 21">
              <a:extLst>
                <a:ext uri="{FF2B5EF4-FFF2-40B4-BE49-F238E27FC236}">
                  <a16:creationId xmlns:a16="http://schemas.microsoft.com/office/drawing/2014/main" id="{C26C349F-A4BA-DB07-E520-82A8613B7B41}"/>
                </a:ext>
              </a:extLst>
            </p:cNvPr>
            <p:cNvSpPr/>
            <p:nvPr/>
          </p:nvSpPr>
          <p:spPr>
            <a:xfrm>
              <a:off x="7680309" y="3341143"/>
              <a:ext cx="110723" cy="116619"/>
            </a:xfrm>
            <a:prstGeom prst="ellipse">
              <a:avLst/>
            </a:prstGeom>
            <a:solidFill>
              <a:srgbClr val="F2A92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23" name="Oval 22">
              <a:extLst>
                <a:ext uri="{FF2B5EF4-FFF2-40B4-BE49-F238E27FC236}">
                  <a16:creationId xmlns:a16="http://schemas.microsoft.com/office/drawing/2014/main" id="{EF426FA6-47E1-C554-F906-532584672202}"/>
                </a:ext>
              </a:extLst>
            </p:cNvPr>
            <p:cNvSpPr/>
            <p:nvPr/>
          </p:nvSpPr>
          <p:spPr>
            <a:xfrm>
              <a:off x="7830470" y="3335620"/>
              <a:ext cx="110723" cy="116619"/>
            </a:xfrm>
            <a:prstGeom prst="ellipse">
              <a:avLst/>
            </a:prstGeom>
            <a:solidFill>
              <a:srgbClr val="F2A92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grpSp>
      <p:grpSp>
        <p:nvGrpSpPr>
          <p:cNvPr id="545" name="Group 544">
            <a:extLst>
              <a:ext uri="{FF2B5EF4-FFF2-40B4-BE49-F238E27FC236}">
                <a16:creationId xmlns:a16="http://schemas.microsoft.com/office/drawing/2014/main" id="{CE6A355C-3178-B026-029D-4E6AEF2A59B1}"/>
              </a:ext>
            </a:extLst>
          </p:cNvPr>
          <p:cNvGrpSpPr/>
          <p:nvPr/>
        </p:nvGrpSpPr>
        <p:grpSpPr>
          <a:xfrm>
            <a:off x="4981256" y="1291276"/>
            <a:ext cx="6650384" cy="4200669"/>
            <a:chOff x="1364911" y="1716218"/>
            <a:chExt cx="6650384" cy="4200669"/>
          </a:xfrm>
        </p:grpSpPr>
        <p:grpSp>
          <p:nvGrpSpPr>
            <p:cNvPr id="546" name="Group 545">
              <a:extLst>
                <a:ext uri="{FF2B5EF4-FFF2-40B4-BE49-F238E27FC236}">
                  <a16:creationId xmlns:a16="http://schemas.microsoft.com/office/drawing/2014/main" id="{7257D755-D1CB-A971-C12E-0BC75D68CBA9}"/>
                </a:ext>
              </a:extLst>
            </p:cNvPr>
            <p:cNvGrpSpPr/>
            <p:nvPr/>
          </p:nvGrpSpPr>
          <p:grpSpPr>
            <a:xfrm>
              <a:off x="1364911" y="1716218"/>
              <a:ext cx="6650384" cy="4200669"/>
              <a:chOff x="1364911" y="1716218"/>
              <a:chExt cx="6650384" cy="4200669"/>
            </a:xfrm>
          </p:grpSpPr>
          <p:grpSp>
            <p:nvGrpSpPr>
              <p:cNvPr id="548" name="Group 547">
                <a:extLst>
                  <a:ext uri="{FF2B5EF4-FFF2-40B4-BE49-F238E27FC236}">
                    <a16:creationId xmlns:a16="http://schemas.microsoft.com/office/drawing/2014/main" id="{229F9FF4-2309-BF6C-E800-939F96EC5225}"/>
                  </a:ext>
                </a:extLst>
              </p:cNvPr>
              <p:cNvGrpSpPr/>
              <p:nvPr/>
            </p:nvGrpSpPr>
            <p:grpSpPr>
              <a:xfrm>
                <a:off x="1364911" y="1716218"/>
                <a:ext cx="6615074" cy="4200669"/>
                <a:chOff x="1364911" y="1716218"/>
                <a:chExt cx="6615074" cy="4200669"/>
              </a:xfrm>
            </p:grpSpPr>
            <p:grpSp>
              <p:nvGrpSpPr>
                <p:cNvPr id="555" name="Group 554">
                  <a:extLst>
                    <a:ext uri="{FF2B5EF4-FFF2-40B4-BE49-F238E27FC236}">
                      <a16:creationId xmlns:a16="http://schemas.microsoft.com/office/drawing/2014/main" id="{B4CD3210-D07B-439D-CECE-F694479F8EF3}"/>
                    </a:ext>
                  </a:extLst>
                </p:cNvPr>
                <p:cNvGrpSpPr/>
                <p:nvPr/>
              </p:nvGrpSpPr>
              <p:grpSpPr>
                <a:xfrm>
                  <a:off x="1364911" y="2535274"/>
                  <a:ext cx="5968603" cy="3381613"/>
                  <a:chOff x="1364911" y="2535274"/>
                  <a:chExt cx="5968603" cy="3381613"/>
                </a:xfrm>
              </p:grpSpPr>
              <p:sp>
                <p:nvSpPr>
                  <p:cNvPr id="638" name="Oval 637">
                    <a:extLst>
                      <a:ext uri="{FF2B5EF4-FFF2-40B4-BE49-F238E27FC236}">
                        <a16:creationId xmlns:a16="http://schemas.microsoft.com/office/drawing/2014/main" id="{24470903-212A-3020-7F4B-3F246F9D776A}"/>
                      </a:ext>
                    </a:extLst>
                  </p:cNvPr>
                  <p:cNvSpPr/>
                  <p:nvPr/>
                </p:nvSpPr>
                <p:spPr>
                  <a:xfrm>
                    <a:off x="1719041" y="3292324"/>
                    <a:ext cx="110723" cy="116619"/>
                  </a:xfrm>
                  <a:prstGeom prst="ellipse">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639" name="Oval 638">
                    <a:extLst>
                      <a:ext uri="{FF2B5EF4-FFF2-40B4-BE49-F238E27FC236}">
                        <a16:creationId xmlns:a16="http://schemas.microsoft.com/office/drawing/2014/main" id="{93A6A43F-31C0-3523-2676-B246EE6BB1DC}"/>
                      </a:ext>
                    </a:extLst>
                  </p:cNvPr>
                  <p:cNvSpPr/>
                  <p:nvPr/>
                </p:nvSpPr>
                <p:spPr>
                  <a:xfrm>
                    <a:off x="1472463" y="3027443"/>
                    <a:ext cx="110723" cy="116619"/>
                  </a:xfrm>
                  <a:prstGeom prst="ellipse">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640" name="Oval 639">
                    <a:extLst>
                      <a:ext uri="{FF2B5EF4-FFF2-40B4-BE49-F238E27FC236}">
                        <a16:creationId xmlns:a16="http://schemas.microsoft.com/office/drawing/2014/main" id="{6D1E4AB0-2FDC-1015-0BF4-37BCDC68BC42}"/>
                      </a:ext>
                    </a:extLst>
                  </p:cNvPr>
                  <p:cNvSpPr/>
                  <p:nvPr/>
                </p:nvSpPr>
                <p:spPr>
                  <a:xfrm>
                    <a:off x="1700752" y="3043605"/>
                    <a:ext cx="110723" cy="116619"/>
                  </a:xfrm>
                  <a:prstGeom prst="ellipse">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641" name="Oval 640">
                    <a:extLst>
                      <a:ext uri="{FF2B5EF4-FFF2-40B4-BE49-F238E27FC236}">
                        <a16:creationId xmlns:a16="http://schemas.microsoft.com/office/drawing/2014/main" id="{2083372B-D72B-F9AB-65DF-E00AE8B6CB4F}"/>
                      </a:ext>
                    </a:extLst>
                  </p:cNvPr>
                  <p:cNvSpPr/>
                  <p:nvPr/>
                </p:nvSpPr>
                <p:spPr>
                  <a:xfrm>
                    <a:off x="1961629" y="3266175"/>
                    <a:ext cx="110723" cy="116619"/>
                  </a:xfrm>
                  <a:prstGeom prst="ellipse">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642" name="Oval 641">
                    <a:extLst>
                      <a:ext uri="{FF2B5EF4-FFF2-40B4-BE49-F238E27FC236}">
                        <a16:creationId xmlns:a16="http://schemas.microsoft.com/office/drawing/2014/main" id="{F22213BC-3FC0-5BB8-D77A-35661D41D587}"/>
                      </a:ext>
                    </a:extLst>
                  </p:cNvPr>
                  <p:cNvSpPr/>
                  <p:nvPr/>
                </p:nvSpPr>
                <p:spPr>
                  <a:xfrm>
                    <a:off x="2194077" y="3006698"/>
                    <a:ext cx="110723" cy="116619"/>
                  </a:xfrm>
                  <a:prstGeom prst="ellipse">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643" name="Oval 642">
                    <a:extLst>
                      <a:ext uri="{FF2B5EF4-FFF2-40B4-BE49-F238E27FC236}">
                        <a16:creationId xmlns:a16="http://schemas.microsoft.com/office/drawing/2014/main" id="{AF87FF5E-7C67-E7DA-0D36-4E91535120B4}"/>
                      </a:ext>
                    </a:extLst>
                  </p:cNvPr>
                  <p:cNvSpPr/>
                  <p:nvPr/>
                </p:nvSpPr>
                <p:spPr>
                  <a:xfrm>
                    <a:off x="3127472" y="2907490"/>
                    <a:ext cx="110723" cy="116619"/>
                  </a:xfrm>
                  <a:prstGeom prst="ellipse">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644" name="Oval 643">
                    <a:extLst>
                      <a:ext uri="{FF2B5EF4-FFF2-40B4-BE49-F238E27FC236}">
                        <a16:creationId xmlns:a16="http://schemas.microsoft.com/office/drawing/2014/main" id="{AF7EFF54-67D8-BB87-74AD-B9FD04F3B35C}"/>
                      </a:ext>
                    </a:extLst>
                  </p:cNvPr>
                  <p:cNvSpPr/>
                  <p:nvPr/>
                </p:nvSpPr>
                <p:spPr>
                  <a:xfrm>
                    <a:off x="3695377" y="2910824"/>
                    <a:ext cx="110723" cy="116619"/>
                  </a:xfrm>
                  <a:prstGeom prst="ellipse">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645" name="Oval 644">
                    <a:extLst>
                      <a:ext uri="{FF2B5EF4-FFF2-40B4-BE49-F238E27FC236}">
                        <a16:creationId xmlns:a16="http://schemas.microsoft.com/office/drawing/2014/main" id="{CEA15225-0A93-1DD2-7083-CF4610099DA0}"/>
                      </a:ext>
                    </a:extLst>
                  </p:cNvPr>
                  <p:cNvSpPr/>
                  <p:nvPr/>
                </p:nvSpPr>
                <p:spPr>
                  <a:xfrm>
                    <a:off x="3574640" y="2535274"/>
                    <a:ext cx="110723" cy="116619"/>
                  </a:xfrm>
                  <a:prstGeom prst="ellipse">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646" name="Oval 645">
                    <a:extLst>
                      <a:ext uri="{FF2B5EF4-FFF2-40B4-BE49-F238E27FC236}">
                        <a16:creationId xmlns:a16="http://schemas.microsoft.com/office/drawing/2014/main" id="{54D69E36-96BB-827D-41C2-5D9F22788FBD}"/>
                      </a:ext>
                    </a:extLst>
                  </p:cNvPr>
                  <p:cNvSpPr/>
                  <p:nvPr/>
                </p:nvSpPr>
                <p:spPr>
                  <a:xfrm>
                    <a:off x="2272885" y="3500313"/>
                    <a:ext cx="110723" cy="116619"/>
                  </a:xfrm>
                  <a:prstGeom prst="ellipse">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647" name="Oval 646">
                    <a:extLst>
                      <a:ext uri="{FF2B5EF4-FFF2-40B4-BE49-F238E27FC236}">
                        <a16:creationId xmlns:a16="http://schemas.microsoft.com/office/drawing/2014/main" id="{A99135CC-508E-B807-CA07-59F09D7D6DCF}"/>
                      </a:ext>
                    </a:extLst>
                  </p:cNvPr>
                  <p:cNvSpPr/>
                  <p:nvPr/>
                </p:nvSpPr>
                <p:spPr>
                  <a:xfrm>
                    <a:off x="1803125" y="3529295"/>
                    <a:ext cx="110723" cy="116619"/>
                  </a:xfrm>
                  <a:prstGeom prst="ellipse">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648" name="Oval 647">
                    <a:extLst>
                      <a:ext uri="{FF2B5EF4-FFF2-40B4-BE49-F238E27FC236}">
                        <a16:creationId xmlns:a16="http://schemas.microsoft.com/office/drawing/2014/main" id="{6E30946A-928A-A769-B9A0-7D0C93A84593}"/>
                      </a:ext>
                    </a:extLst>
                  </p:cNvPr>
                  <p:cNvSpPr/>
                  <p:nvPr/>
                </p:nvSpPr>
                <p:spPr>
                  <a:xfrm>
                    <a:off x="2023759" y="3760264"/>
                    <a:ext cx="110723" cy="116619"/>
                  </a:xfrm>
                  <a:prstGeom prst="ellipse">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649" name="Oval 648">
                    <a:extLst>
                      <a:ext uri="{FF2B5EF4-FFF2-40B4-BE49-F238E27FC236}">
                        <a16:creationId xmlns:a16="http://schemas.microsoft.com/office/drawing/2014/main" id="{E3D47DBC-A853-ACA1-17BB-6CCC4FA7EAF6}"/>
                      </a:ext>
                    </a:extLst>
                  </p:cNvPr>
                  <p:cNvSpPr/>
                  <p:nvPr/>
                </p:nvSpPr>
                <p:spPr>
                  <a:xfrm>
                    <a:off x="2493816" y="3497400"/>
                    <a:ext cx="110723" cy="116619"/>
                  </a:xfrm>
                  <a:prstGeom prst="ellipse">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650" name="Oval 649">
                    <a:extLst>
                      <a:ext uri="{FF2B5EF4-FFF2-40B4-BE49-F238E27FC236}">
                        <a16:creationId xmlns:a16="http://schemas.microsoft.com/office/drawing/2014/main" id="{B87756C8-0807-6062-2C15-86FA2D3E714C}"/>
                      </a:ext>
                    </a:extLst>
                  </p:cNvPr>
                  <p:cNvSpPr/>
                  <p:nvPr/>
                </p:nvSpPr>
                <p:spPr>
                  <a:xfrm>
                    <a:off x="1364911" y="4545198"/>
                    <a:ext cx="110723" cy="116619"/>
                  </a:xfrm>
                  <a:prstGeom prst="ellipse">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651" name="Oval 650">
                    <a:extLst>
                      <a:ext uri="{FF2B5EF4-FFF2-40B4-BE49-F238E27FC236}">
                        <a16:creationId xmlns:a16="http://schemas.microsoft.com/office/drawing/2014/main" id="{FA64DF96-22F9-02FE-22F9-700E36118D4B}"/>
                      </a:ext>
                    </a:extLst>
                  </p:cNvPr>
                  <p:cNvSpPr/>
                  <p:nvPr/>
                </p:nvSpPr>
                <p:spPr>
                  <a:xfrm>
                    <a:off x="2782287" y="4858833"/>
                    <a:ext cx="110723" cy="116619"/>
                  </a:xfrm>
                  <a:prstGeom prst="ellipse">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652" name="Oval 651">
                    <a:extLst>
                      <a:ext uri="{FF2B5EF4-FFF2-40B4-BE49-F238E27FC236}">
                        <a16:creationId xmlns:a16="http://schemas.microsoft.com/office/drawing/2014/main" id="{E33AFB0F-72B9-E764-40F7-13F978DFC9CB}"/>
                      </a:ext>
                    </a:extLst>
                  </p:cNvPr>
                  <p:cNvSpPr/>
                  <p:nvPr/>
                </p:nvSpPr>
                <p:spPr>
                  <a:xfrm>
                    <a:off x="1680542" y="5570855"/>
                    <a:ext cx="110723" cy="116619"/>
                  </a:xfrm>
                  <a:prstGeom prst="ellipse">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653" name="Oval 652">
                    <a:extLst>
                      <a:ext uri="{FF2B5EF4-FFF2-40B4-BE49-F238E27FC236}">
                        <a16:creationId xmlns:a16="http://schemas.microsoft.com/office/drawing/2014/main" id="{521D0632-4DA7-F64F-7E62-0D4ED2688D1F}"/>
                      </a:ext>
                    </a:extLst>
                  </p:cNvPr>
                  <p:cNvSpPr/>
                  <p:nvPr/>
                </p:nvSpPr>
                <p:spPr>
                  <a:xfrm>
                    <a:off x="4001379" y="5428784"/>
                    <a:ext cx="110723" cy="116619"/>
                  </a:xfrm>
                  <a:prstGeom prst="ellipse">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654" name="Oval 653">
                    <a:extLst>
                      <a:ext uri="{FF2B5EF4-FFF2-40B4-BE49-F238E27FC236}">
                        <a16:creationId xmlns:a16="http://schemas.microsoft.com/office/drawing/2014/main" id="{62CD5E83-8615-931E-1CCF-858BA46D938B}"/>
                      </a:ext>
                    </a:extLst>
                  </p:cNvPr>
                  <p:cNvSpPr/>
                  <p:nvPr/>
                </p:nvSpPr>
                <p:spPr>
                  <a:xfrm>
                    <a:off x="4425115" y="5495476"/>
                    <a:ext cx="110723" cy="116619"/>
                  </a:xfrm>
                  <a:prstGeom prst="ellipse">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655" name="Oval 654">
                    <a:extLst>
                      <a:ext uri="{FF2B5EF4-FFF2-40B4-BE49-F238E27FC236}">
                        <a16:creationId xmlns:a16="http://schemas.microsoft.com/office/drawing/2014/main" id="{47F74D66-ED28-F509-D27A-21DBA9AA2920}"/>
                      </a:ext>
                    </a:extLst>
                  </p:cNvPr>
                  <p:cNvSpPr/>
                  <p:nvPr/>
                </p:nvSpPr>
                <p:spPr>
                  <a:xfrm>
                    <a:off x="6232529" y="5665785"/>
                    <a:ext cx="110723" cy="116619"/>
                  </a:xfrm>
                  <a:prstGeom prst="ellipse">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656" name="Oval 655">
                    <a:extLst>
                      <a:ext uri="{FF2B5EF4-FFF2-40B4-BE49-F238E27FC236}">
                        <a16:creationId xmlns:a16="http://schemas.microsoft.com/office/drawing/2014/main" id="{81916538-ACC4-F5FD-411B-0CE2D2F7E76A}"/>
                      </a:ext>
                    </a:extLst>
                  </p:cNvPr>
                  <p:cNvSpPr/>
                  <p:nvPr/>
                </p:nvSpPr>
                <p:spPr>
                  <a:xfrm>
                    <a:off x="7222791" y="5800268"/>
                    <a:ext cx="110723" cy="116619"/>
                  </a:xfrm>
                  <a:prstGeom prst="ellipse">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657" name="Oval 656">
                    <a:extLst>
                      <a:ext uri="{FF2B5EF4-FFF2-40B4-BE49-F238E27FC236}">
                        <a16:creationId xmlns:a16="http://schemas.microsoft.com/office/drawing/2014/main" id="{A93A20F1-721D-84AB-393C-62769BB71B1B}"/>
                      </a:ext>
                    </a:extLst>
                  </p:cNvPr>
                  <p:cNvSpPr/>
                  <p:nvPr/>
                </p:nvSpPr>
                <p:spPr>
                  <a:xfrm>
                    <a:off x="7005316" y="5782404"/>
                    <a:ext cx="110723" cy="116619"/>
                  </a:xfrm>
                  <a:prstGeom prst="ellipse">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grpSp>
            <p:grpSp>
              <p:nvGrpSpPr>
                <p:cNvPr id="556" name="Group 555">
                  <a:extLst>
                    <a:ext uri="{FF2B5EF4-FFF2-40B4-BE49-F238E27FC236}">
                      <a16:creationId xmlns:a16="http://schemas.microsoft.com/office/drawing/2014/main" id="{3F5F871E-274C-DBF0-AC84-AE36F1D0EFD4}"/>
                    </a:ext>
                  </a:extLst>
                </p:cNvPr>
                <p:cNvGrpSpPr/>
                <p:nvPr/>
              </p:nvGrpSpPr>
              <p:grpSpPr>
                <a:xfrm>
                  <a:off x="4108959" y="1716218"/>
                  <a:ext cx="3871026" cy="3130665"/>
                  <a:chOff x="10579222" y="4841936"/>
                  <a:chExt cx="3871026" cy="3130665"/>
                </a:xfrm>
              </p:grpSpPr>
              <p:sp>
                <p:nvSpPr>
                  <p:cNvPr id="557" name="Chord 556">
                    <a:extLst>
                      <a:ext uri="{FF2B5EF4-FFF2-40B4-BE49-F238E27FC236}">
                        <a16:creationId xmlns:a16="http://schemas.microsoft.com/office/drawing/2014/main" id="{4E3B154A-F035-9B63-8835-29572BF28505}"/>
                      </a:ext>
                    </a:extLst>
                  </p:cNvPr>
                  <p:cNvSpPr/>
                  <p:nvPr/>
                </p:nvSpPr>
                <p:spPr>
                  <a:xfrm>
                    <a:off x="10618942" y="4914343"/>
                    <a:ext cx="114289" cy="113537"/>
                  </a:xfrm>
                  <a:prstGeom prst="chord">
                    <a:avLst>
                      <a:gd name="adj1" fmla="val 5390402"/>
                      <a:gd name="adj2" fmla="val 16200000"/>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58" name="Chord 557">
                    <a:extLst>
                      <a:ext uri="{FF2B5EF4-FFF2-40B4-BE49-F238E27FC236}">
                        <a16:creationId xmlns:a16="http://schemas.microsoft.com/office/drawing/2014/main" id="{D7C1A057-8EBC-6FD9-6740-4D9CA7267DE8}"/>
                      </a:ext>
                    </a:extLst>
                  </p:cNvPr>
                  <p:cNvSpPr/>
                  <p:nvPr/>
                </p:nvSpPr>
                <p:spPr>
                  <a:xfrm>
                    <a:off x="12471661" y="5559417"/>
                    <a:ext cx="114289" cy="113537"/>
                  </a:xfrm>
                  <a:prstGeom prst="chord">
                    <a:avLst>
                      <a:gd name="adj1" fmla="val 5390402"/>
                      <a:gd name="adj2" fmla="val 16200000"/>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59" name="Chord 558">
                    <a:extLst>
                      <a:ext uri="{FF2B5EF4-FFF2-40B4-BE49-F238E27FC236}">
                        <a16:creationId xmlns:a16="http://schemas.microsoft.com/office/drawing/2014/main" id="{81E7230D-F75E-4049-1341-2F9E546714C7}"/>
                      </a:ext>
                    </a:extLst>
                  </p:cNvPr>
                  <p:cNvSpPr/>
                  <p:nvPr/>
                </p:nvSpPr>
                <p:spPr>
                  <a:xfrm>
                    <a:off x="12575916" y="5483043"/>
                    <a:ext cx="114289" cy="113537"/>
                  </a:xfrm>
                  <a:prstGeom prst="chord">
                    <a:avLst>
                      <a:gd name="adj1" fmla="val 5390402"/>
                      <a:gd name="adj2" fmla="val 16200000"/>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61" name="Chord 560">
                    <a:extLst>
                      <a:ext uri="{FF2B5EF4-FFF2-40B4-BE49-F238E27FC236}">
                        <a16:creationId xmlns:a16="http://schemas.microsoft.com/office/drawing/2014/main" id="{A4F4DBD6-39AD-82BA-2F12-FCF111A6F34A}"/>
                      </a:ext>
                    </a:extLst>
                  </p:cNvPr>
                  <p:cNvSpPr/>
                  <p:nvPr/>
                </p:nvSpPr>
                <p:spPr>
                  <a:xfrm>
                    <a:off x="12572799" y="5764661"/>
                    <a:ext cx="114289" cy="113537"/>
                  </a:xfrm>
                  <a:prstGeom prst="chord">
                    <a:avLst>
                      <a:gd name="adj1" fmla="val 5390402"/>
                      <a:gd name="adj2" fmla="val 16200000"/>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62" name="Chord 561">
                    <a:extLst>
                      <a:ext uri="{FF2B5EF4-FFF2-40B4-BE49-F238E27FC236}">
                        <a16:creationId xmlns:a16="http://schemas.microsoft.com/office/drawing/2014/main" id="{6BED781A-1D8F-6722-B79E-91B70CB745E8}"/>
                      </a:ext>
                    </a:extLst>
                  </p:cNvPr>
                  <p:cNvSpPr/>
                  <p:nvPr/>
                </p:nvSpPr>
                <p:spPr>
                  <a:xfrm>
                    <a:off x="12467414" y="5689103"/>
                    <a:ext cx="114289" cy="113537"/>
                  </a:xfrm>
                  <a:prstGeom prst="chord">
                    <a:avLst>
                      <a:gd name="adj1" fmla="val 5390402"/>
                      <a:gd name="adj2" fmla="val 16200000"/>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63" name="Chord 562">
                    <a:extLst>
                      <a:ext uri="{FF2B5EF4-FFF2-40B4-BE49-F238E27FC236}">
                        <a16:creationId xmlns:a16="http://schemas.microsoft.com/office/drawing/2014/main" id="{05C8B253-6E66-EE3C-D8A7-6C1800ADCF89}"/>
                      </a:ext>
                    </a:extLst>
                  </p:cNvPr>
                  <p:cNvSpPr/>
                  <p:nvPr/>
                </p:nvSpPr>
                <p:spPr>
                  <a:xfrm>
                    <a:off x="12681287" y="5478999"/>
                    <a:ext cx="114289" cy="113537"/>
                  </a:xfrm>
                  <a:prstGeom prst="chord">
                    <a:avLst>
                      <a:gd name="adj1" fmla="val 5390402"/>
                      <a:gd name="adj2" fmla="val 16200000"/>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64" name="Chord 563">
                    <a:extLst>
                      <a:ext uri="{FF2B5EF4-FFF2-40B4-BE49-F238E27FC236}">
                        <a16:creationId xmlns:a16="http://schemas.microsoft.com/office/drawing/2014/main" id="{8C3E265E-CD33-2501-5FF9-E42416504B23}"/>
                      </a:ext>
                    </a:extLst>
                  </p:cNvPr>
                  <p:cNvSpPr/>
                  <p:nvPr/>
                </p:nvSpPr>
                <p:spPr>
                  <a:xfrm>
                    <a:off x="13570965" y="5382153"/>
                    <a:ext cx="114289" cy="113537"/>
                  </a:xfrm>
                  <a:prstGeom prst="chord">
                    <a:avLst>
                      <a:gd name="adj1" fmla="val 5390402"/>
                      <a:gd name="adj2" fmla="val 16200000"/>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66" name="Chord 565">
                    <a:extLst>
                      <a:ext uri="{FF2B5EF4-FFF2-40B4-BE49-F238E27FC236}">
                        <a16:creationId xmlns:a16="http://schemas.microsoft.com/office/drawing/2014/main" id="{C373D89F-BBFA-8476-A107-234F769D1753}"/>
                      </a:ext>
                    </a:extLst>
                  </p:cNvPr>
                  <p:cNvSpPr/>
                  <p:nvPr/>
                </p:nvSpPr>
                <p:spPr>
                  <a:xfrm>
                    <a:off x="13846026" y="5502648"/>
                    <a:ext cx="114289" cy="113537"/>
                  </a:xfrm>
                  <a:prstGeom prst="chord">
                    <a:avLst>
                      <a:gd name="adj1" fmla="val 5390402"/>
                      <a:gd name="adj2" fmla="val 16200000"/>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67" name="Chord 566">
                    <a:extLst>
                      <a:ext uri="{FF2B5EF4-FFF2-40B4-BE49-F238E27FC236}">
                        <a16:creationId xmlns:a16="http://schemas.microsoft.com/office/drawing/2014/main" id="{9E0FC1FE-587B-6B0A-F52F-323B298B80F6}"/>
                      </a:ext>
                    </a:extLst>
                  </p:cNvPr>
                  <p:cNvSpPr/>
                  <p:nvPr/>
                </p:nvSpPr>
                <p:spPr>
                  <a:xfrm>
                    <a:off x="12363228" y="5164148"/>
                    <a:ext cx="114289" cy="113537"/>
                  </a:xfrm>
                  <a:prstGeom prst="chord">
                    <a:avLst>
                      <a:gd name="adj1" fmla="val 5390402"/>
                      <a:gd name="adj2" fmla="val 16200000"/>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68" name="Chord 567">
                    <a:extLst>
                      <a:ext uri="{FF2B5EF4-FFF2-40B4-BE49-F238E27FC236}">
                        <a16:creationId xmlns:a16="http://schemas.microsoft.com/office/drawing/2014/main" id="{C1EDFBEE-3DEE-62AF-3150-744D800E68D2}"/>
                      </a:ext>
                    </a:extLst>
                  </p:cNvPr>
                  <p:cNvSpPr/>
                  <p:nvPr/>
                </p:nvSpPr>
                <p:spPr>
                  <a:xfrm>
                    <a:off x="14301324" y="4961552"/>
                    <a:ext cx="114289" cy="113537"/>
                  </a:xfrm>
                  <a:prstGeom prst="chord">
                    <a:avLst>
                      <a:gd name="adj1" fmla="val 5390402"/>
                      <a:gd name="adj2" fmla="val 16200000"/>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69" name="Chord 568">
                    <a:extLst>
                      <a:ext uri="{FF2B5EF4-FFF2-40B4-BE49-F238E27FC236}">
                        <a16:creationId xmlns:a16="http://schemas.microsoft.com/office/drawing/2014/main" id="{6675838A-00CC-379E-3FFA-3CD1F3ADD2E6}"/>
                      </a:ext>
                    </a:extLst>
                  </p:cNvPr>
                  <p:cNvSpPr/>
                  <p:nvPr/>
                </p:nvSpPr>
                <p:spPr>
                  <a:xfrm>
                    <a:off x="10783929" y="4841936"/>
                    <a:ext cx="114289" cy="113537"/>
                  </a:xfrm>
                  <a:prstGeom prst="chord">
                    <a:avLst>
                      <a:gd name="adj1" fmla="val 5390402"/>
                      <a:gd name="adj2" fmla="val 16200000"/>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70" name="Chord 569">
                    <a:extLst>
                      <a:ext uri="{FF2B5EF4-FFF2-40B4-BE49-F238E27FC236}">
                        <a16:creationId xmlns:a16="http://schemas.microsoft.com/office/drawing/2014/main" id="{FDCBEB88-5617-7FA9-8845-6C3334EC53DA}"/>
                      </a:ext>
                    </a:extLst>
                  </p:cNvPr>
                  <p:cNvSpPr/>
                  <p:nvPr/>
                </p:nvSpPr>
                <p:spPr>
                  <a:xfrm>
                    <a:off x="11367931" y="4906804"/>
                    <a:ext cx="114289" cy="113537"/>
                  </a:xfrm>
                  <a:prstGeom prst="chord">
                    <a:avLst>
                      <a:gd name="adj1" fmla="val 5390402"/>
                      <a:gd name="adj2" fmla="val 16200000"/>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71" name="Chord 570">
                    <a:extLst>
                      <a:ext uri="{FF2B5EF4-FFF2-40B4-BE49-F238E27FC236}">
                        <a16:creationId xmlns:a16="http://schemas.microsoft.com/office/drawing/2014/main" id="{7894C2FC-6916-7319-7616-741BE5971A17}"/>
                      </a:ext>
                    </a:extLst>
                  </p:cNvPr>
                  <p:cNvSpPr/>
                  <p:nvPr/>
                </p:nvSpPr>
                <p:spPr>
                  <a:xfrm>
                    <a:off x="12356728" y="4982816"/>
                    <a:ext cx="114289" cy="113537"/>
                  </a:xfrm>
                  <a:prstGeom prst="chord">
                    <a:avLst>
                      <a:gd name="adj1" fmla="val 5390402"/>
                      <a:gd name="adj2" fmla="val 16200000"/>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72" name="Chord 571">
                    <a:extLst>
                      <a:ext uri="{FF2B5EF4-FFF2-40B4-BE49-F238E27FC236}">
                        <a16:creationId xmlns:a16="http://schemas.microsoft.com/office/drawing/2014/main" id="{FDEAA7B8-18E1-2DDC-D17B-256EFACD5778}"/>
                      </a:ext>
                    </a:extLst>
                  </p:cNvPr>
                  <p:cNvSpPr/>
                  <p:nvPr/>
                </p:nvSpPr>
                <p:spPr>
                  <a:xfrm>
                    <a:off x="11458223" y="5050652"/>
                    <a:ext cx="114289" cy="113537"/>
                  </a:xfrm>
                  <a:prstGeom prst="chord">
                    <a:avLst>
                      <a:gd name="adj1" fmla="val 5390402"/>
                      <a:gd name="adj2" fmla="val 16200000"/>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73" name="Chord 572">
                    <a:extLst>
                      <a:ext uri="{FF2B5EF4-FFF2-40B4-BE49-F238E27FC236}">
                        <a16:creationId xmlns:a16="http://schemas.microsoft.com/office/drawing/2014/main" id="{17825405-D323-5D6A-735D-6B272142463A}"/>
                      </a:ext>
                    </a:extLst>
                  </p:cNvPr>
                  <p:cNvSpPr/>
                  <p:nvPr/>
                </p:nvSpPr>
                <p:spPr>
                  <a:xfrm>
                    <a:off x="10766955" y="5071241"/>
                    <a:ext cx="114289" cy="113537"/>
                  </a:xfrm>
                  <a:prstGeom prst="chord">
                    <a:avLst>
                      <a:gd name="adj1" fmla="val 5390402"/>
                      <a:gd name="adj2" fmla="val 16200000"/>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74" name="Chord 573">
                    <a:extLst>
                      <a:ext uri="{FF2B5EF4-FFF2-40B4-BE49-F238E27FC236}">
                        <a16:creationId xmlns:a16="http://schemas.microsoft.com/office/drawing/2014/main" id="{2C99226C-093D-3923-FE2A-1FD676C0382B}"/>
                      </a:ext>
                    </a:extLst>
                  </p:cNvPr>
                  <p:cNvSpPr/>
                  <p:nvPr/>
                </p:nvSpPr>
                <p:spPr>
                  <a:xfrm>
                    <a:off x="11073376" y="5372587"/>
                    <a:ext cx="114289" cy="113537"/>
                  </a:xfrm>
                  <a:prstGeom prst="chord">
                    <a:avLst>
                      <a:gd name="adj1" fmla="val 5390402"/>
                      <a:gd name="adj2" fmla="val 16200000"/>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75" name="Chord 574">
                    <a:extLst>
                      <a:ext uri="{FF2B5EF4-FFF2-40B4-BE49-F238E27FC236}">
                        <a16:creationId xmlns:a16="http://schemas.microsoft.com/office/drawing/2014/main" id="{3E59AF8D-38E1-BB4C-91B7-AB4336B99A98}"/>
                      </a:ext>
                    </a:extLst>
                  </p:cNvPr>
                  <p:cNvSpPr/>
                  <p:nvPr/>
                </p:nvSpPr>
                <p:spPr>
                  <a:xfrm>
                    <a:off x="11226061" y="5524566"/>
                    <a:ext cx="114289" cy="113537"/>
                  </a:xfrm>
                  <a:prstGeom prst="chord">
                    <a:avLst>
                      <a:gd name="adj1" fmla="val 5390402"/>
                      <a:gd name="adj2" fmla="val 16200000"/>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76" name="Chord 575">
                    <a:extLst>
                      <a:ext uri="{FF2B5EF4-FFF2-40B4-BE49-F238E27FC236}">
                        <a16:creationId xmlns:a16="http://schemas.microsoft.com/office/drawing/2014/main" id="{32DE6E9A-AA06-490F-1DBF-609847290CB7}"/>
                      </a:ext>
                    </a:extLst>
                  </p:cNvPr>
                  <p:cNvSpPr/>
                  <p:nvPr/>
                </p:nvSpPr>
                <p:spPr>
                  <a:xfrm>
                    <a:off x="10917724" y="5218536"/>
                    <a:ext cx="114289" cy="113537"/>
                  </a:xfrm>
                  <a:prstGeom prst="chord">
                    <a:avLst>
                      <a:gd name="adj1" fmla="val 5390402"/>
                      <a:gd name="adj2" fmla="val 16200000"/>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77" name="Chord 576">
                    <a:extLst>
                      <a:ext uri="{FF2B5EF4-FFF2-40B4-BE49-F238E27FC236}">
                        <a16:creationId xmlns:a16="http://schemas.microsoft.com/office/drawing/2014/main" id="{572A25E4-62DD-3228-F131-869AFCD2A80D}"/>
                      </a:ext>
                    </a:extLst>
                  </p:cNvPr>
                  <p:cNvSpPr/>
                  <p:nvPr/>
                </p:nvSpPr>
                <p:spPr>
                  <a:xfrm>
                    <a:off x="11086039" y="4916574"/>
                    <a:ext cx="114289" cy="113537"/>
                  </a:xfrm>
                  <a:prstGeom prst="chord">
                    <a:avLst>
                      <a:gd name="adj1" fmla="val 5390402"/>
                      <a:gd name="adj2" fmla="val 16200000"/>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78" name="Chord 577">
                    <a:extLst>
                      <a:ext uri="{FF2B5EF4-FFF2-40B4-BE49-F238E27FC236}">
                        <a16:creationId xmlns:a16="http://schemas.microsoft.com/office/drawing/2014/main" id="{E99146E4-91AB-6427-B04D-21593779E7A4}"/>
                      </a:ext>
                    </a:extLst>
                  </p:cNvPr>
                  <p:cNvSpPr/>
                  <p:nvPr/>
                </p:nvSpPr>
                <p:spPr>
                  <a:xfrm>
                    <a:off x="11015064" y="5091130"/>
                    <a:ext cx="114289" cy="113537"/>
                  </a:xfrm>
                  <a:prstGeom prst="chord">
                    <a:avLst>
                      <a:gd name="adj1" fmla="val 5390402"/>
                      <a:gd name="adj2" fmla="val 16200000"/>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80" name="Chord 579">
                    <a:extLst>
                      <a:ext uri="{FF2B5EF4-FFF2-40B4-BE49-F238E27FC236}">
                        <a16:creationId xmlns:a16="http://schemas.microsoft.com/office/drawing/2014/main" id="{0F864261-D6DF-7DE8-CDA0-4D1091775A1A}"/>
                      </a:ext>
                    </a:extLst>
                  </p:cNvPr>
                  <p:cNvSpPr/>
                  <p:nvPr/>
                </p:nvSpPr>
                <p:spPr>
                  <a:xfrm>
                    <a:off x="13731480" y="5625756"/>
                    <a:ext cx="114289" cy="113537"/>
                  </a:xfrm>
                  <a:prstGeom prst="chord">
                    <a:avLst>
                      <a:gd name="adj1" fmla="val 5390402"/>
                      <a:gd name="adj2" fmla="val 16200000"/>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81" name="Chord 580">
                    <a:extLst>
                      <a:ext uri="{FF2B5EF4-FFF2-40B4-BE49-F238E27FC236}">
                        <a16:creationId xmlns:a16="http://schemas.microsoft.com/office/drawing/2014/main" id="{508E2F41-F5BE-A641-CD9E-E1B376BEECB4}"/>
                      </a:ext>
                    </a:extLst>
                  </p:cNvPr>
                  <p:cNvSpPr/>
                  <p:nvPr/>
                </p:nvSpPr>
                <p:spPr>
                  <a:xfrm>
                    <a:off x="13824082" y="4960700"/>
                    <a:ext cx="114289" cy="113537"/>
                  </a:xfrm>
                  <a:prstGeom prst="chord">
                    <a:avLst>
                      <a:gd name="adj1" fmla="val 5390402"/>
                      <a:gd name="adj2" fmla="val 16200000"/>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82" name="Chord 581">
                    <a:extLst>
                      <a:ext uri="{FF2B5EF4-FFF2-40B4-BE49-F238E27FC236}">
                        <a16:creationId xmlns:a16="http://schemas.microsoft.com/office/drawing/2014/main" id="{C553A668-A01D-3E6E-A58D-36D167515371}"/>
                      </a:ext>
                    </a:extLst>
                  </p:cNvPr>
                  <p:cNvSpPr/>
                  <p:nvPr/>
                </p:nvSpPr>
                <p:spPr>
                  <a:xfrm>
                    <a:off x="10579222" y="6816875"/>
                    <a:ext cx="114289" cy="113537"/>
                  </a:xfrm>
                  <a:prstGeom prst="chord">
                    <a:avLst>
                      <a:gd name="adj1" fmla="val 5390402"/>
                      <a:gd name="adj2" fmla="val 16200000"/>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83" name="Chord 582">
                    <a:extLst>
                      <a:ext uri="{FF2B5EF4-FFF2-40B4-BE49-F238E27FC236}">
                        <a16:creationId xmlns:a16="http://schemas.microsoft.com/office/drawing/2014/main" id="{DFA7B8FD-83FA-601D-2AE7-D59C97EBD236}"/>
                      </a:ext>
                    </a:extLst>
                  </p:cNvPr>
                  <p:cNvSpPr/>
                  <p:nvPr/>
                </p:nvSpPr>
                <p:spPr>
                  <a:xfrm>
                    <a:off x="12807554" y="6517904"/>
                    <a:ext cx="114289" cy="113537"/>
                  </a:xfrm>
                  <a:prstGeom prst="chord">
                    <a:avLst>
                      <a:gd name="adj1" fmla="val 5390402"/>
                      <a:gd name="adj2" fmla="val 16200000"/>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84" name="Chord 583">
                    <a:extLst>
                      <a:ext uri="{FF2B5EF4-FFF2-40B4-BE49-F238E27FC236}">
                        <a16:creationId xmlns:a16="http://schemas.microsoft.com/office/drawing/2014/main" id="{226ED8D1-7F2E-971F-04AB-254DA5BF556A}"/>
                      </a:ext>
                    </a:extLst>
                  </p:cNvPr>
                  <p:cNvSpPr/>
                  <p:nvPr/>
                </p:nvSpPr>
                <p:spPr>
                  <a:xfrm>
                    <a:off x="12948269" y="6521954"/>
                    <a:ext cx="114289" cy="113537"/>
                  </a:xfrm>
                  <a:prstGeom prst="chord">
                    <a:avLst>
                      <a:gd name="adj1" fmla="val 5390402"/>
                      <a:gd name="adj2" fmla="val 16200000"/>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625" name="Chord 624">
                    <a:extLst>
                      <a:ext uri="{FF2B5EF4-FFF2-40B4-BE49-F238E27FC236}">
                        <a16:creationId xmlns:a16="http://schemas.microsoft.com/office/drawing/2014/main" id="{E8CA6409-F4F6-1688-DFB7-19AE4A0CBA71}"/>
                      </a:ext>
                    </a:extLst>
                  </p:cNvPr>
                  <p:cNvSpPr/>
                  <p:nvPr/>
                </p:nvSpPr>
                <p:spPr>
                  <a:xfrm>
                    <a:off x="13696230" y="6420477"/>
                    <a:ext cx="114289" cy="113537"/>
                  </a:xfrm>
                  <a:prstGeom prst="chord">
                    <a:avLst>
                      <a:gd name="adj1" fmla="val 5390402"/>
                      <a:gd name="adj2" fmla="val 16200000"/>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626" name="Chord 625">
                    <a:extLst>
                      <a:ext uri="{FF2B5EF4-FFF2-40B4-BE49-F238E27FC236}">
                        <a16:creationId xmlns:a16="http://schemas.microsoft.com/office/drawing/2014/main" id="{05479533-002D-341D-004E-82A175D70509}"/>
                      </a:ext>
                    </a:extLst>
                  </p:cNvPr>
                  <p:cNvSpPr/>
                  <p:nvPr/>
                </p:nvSpPr>
                <p:spPr>
                  <a:xfrm>
                    <a:off x="11021344" y="7168307"/>
                    <a:ext cx="114289" cy="113537"/>
                  </a:xfrm>
                  <a:prstGeom prst="chord">
                    <a:avLst>
                      <a:gd name="adj1" fmla="val 5390402"/>
                      <a:gd name="adj2" fmla="val 16200000"/>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627" name="Chord 626">
                    <a:extLst>
                      <a:ext uri="{FF2B5EF4-FFF2-40B4-BE49-F238E27FC236}">
                        <a16:creationId xmlns:a16="http://schemas.microsoft.com/office/drawing/2014/main" id="{B0598534-1DF2-B7B3-1EAC-CD165F4EE5F8}"/>
                      </a:ext>
                    </a:extLst>
                  </p:cNvPr>
                  <p:cNvSpPr/>
                  <p:nvPr/>
                </p:nvSpPr>
                <p:spPr>
                  <a:xfrm>
                    <a:off x="13002419" y="6902532"/>
                    <a:ext cx="114289" cy="113537"/>
                  </a:xfrm>
                  <a:prstGeom prst="chord">
                    <a:avLst>
                      <a:gd name="adj1" fmla="val 5390402"/>
                      <a:gd name="adj2" fmla="val 16200000"/>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628" name="Chord 627">
                    <a:extLst>
                      <a:ext uri="{FF2B5EF4-FFF2-40B4-BE49-F238E27FC236}">
                        <a16:creationId xmlns:a16="http://schemas.microsoft.com/office/drawing/2014/main" id="{F0FAC9BC-84B1-6546-7373-957EFDCD6787}"/>
                      </a:ext>
                    </a:extLst>
                  </p:cNvPr>
                  <p:cNvSpPr/>
                  <p:nvPr/>
                </p:nvSpPr>
                <p:spPr>
                  <a:xfrm>
                    <a:off x="10872369" y="7171819"/>
                    <a:ext cx="114289" cy="113537"/>
                  </a:xfrm>
                  <a:prstGeom prst="chord">
                    <a:avLst>
                      <a:gd name="adj1" fmla="val 5390402"/>
                      <a:gd name="adj2" fmla="val 16200000"/>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630" name="Chord 629">
                    <a:extLst>
                      <a:ext uri="{FF2B5EF4-FFF2-40B4-BE49-F238E27FC236}">
                        <a16:creationId xmlns:a16="http://schemas.microsoft.com/office/drawing/2014/main" id="{04CC11DB-C36E-A5CD-D537-9FE7E5474324}"/>
                      </a:ext>
                    </a:extLst>
                  </p:cNvPr>
                  <p:cNvSpPr/>
                  <p:nvPr/>
                </p:nvSpPr>
                <p:spPr>
                  <a:xfrm>
                    <a:off x="11649655" y="7523761"/>
                    <a:ext cx="114289" cy="113537"/>
                  </a:xfrm>
                  <a:prstGeom prst="chord">
                    <a:avLst>
                      <a:gd name="adj1" fmla="val 5390402"/>
                      <a:gd name="adj2" fmla="val 16200000"/>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631" name="Chord 630">
                    <a:extLst>
                      <a:ext uri="{FF2B5EF4-FFF2-40B4-BE49-F238E27FC236}">
                        <a16:creationId xmlns:a16="http://schemas.microsoft.com/office/drawing/2014/main" id="{0B482B65-B9F6-1969-354E-8C9E60585AE4}"/>
                      </a:ext>
                    </a:extLst>
                  </p:cNvPr>
                  <p:cNvSpPr/>
                  <p:nvPr/>
                </p:nvSpPr>
                <p:spPr>
                  <a:xfrm>
                    <a:off x="10750922" y="7758813"/>
                    <a:ext cx="114289" cy="113537"/>
                  </a:xfrm>
                  <a:prstGeom prst="chord">
                    <a:avLst>
                      <a:gd name="adj1" fmla="val 5390402"/>
                      <a:gd name="adj2" fmla="val 16200000"/>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632" name="Chord 631">
                    <a:extLst>
                      <a:ext uri="{FF2B5EF4-FFF2-40B4-BE49-F238E27FC236}">
                        <a16:creationId xmlns:a16="http://schemas.microsoft.com/office/drawing/2014/main" id="{5636A45F-51A6-F004-2E78-C2984D92731F}"/>
                      </a:ext>
                    </a:extLst>
                  </p:cNvPr>
                  <p:cNvSpPr/>
                  <p:nvPr/>
                </p:nvSpPr>
                <p:spPr>
                  <a:xfrm>
                    <a:off x="11412720" y="7726515"/>
                    <a:ext cx="114289" cy="113537"/>
                  </a:xfrm>
                  <a:prstGeom prst="chord">
                    <a:avLst>
                      <a:gd name="adj1" fmla="val 5390402"/>
                      <a:gd name="adj2" fmla="val 16200000"/>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633" name="Chord 632">
                    <a:extLst>
                      <a:ext uri="{FF2B5EF4-FFF2-40B4-BE49-F238E27FC236}">
                        <a16:creationId xmlns:a16="http://schemas.microsoft.com/office/drawing/2014/main" id="{5567A982-EC89-CC69-E9E5-2CEDC4475254}"/>
                      </a:ext>
                    </a:extLst>
                  </p:cNvPr>
                  <p:cNvSpPr/>
                  <p:nvPr/>
                </p:nvSpPr>
                <p:spPr>
                  <a:xfrm>
                    <a:off x="12419991" y="7620892"/>
                    <a:ext cx="114289" cy="113537"/>
                  </a:xfrm>
                  <a:prstGeom prst="chord">
                    <a:avLst>
                      <a:gd name="adj1" fmla="val 5390402"/>
                      <a:gd name="adj2" fmla="val 16200000"/>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634" name="Chord 633">
                    <a:extLst>
                      <a:ext uri="{FF2B5EF4-FFF2-40B4-BE49-F238E27FC236}">
                        <a16:creationId xmlns:a16="http://schemas.microsoft.com/office/drawing/2014/main" id="{E4366390-739B-78D2-BE2D-A666E122C2D2}"/>
                      </a:ext>
                    </a:extLst>
                  </p:cNvPr>
                  <p:cNvSpPr/>
                  <p:nvPr/>
                </p:nvSpPr>
                <p:spPr>
                  <a:xfrm>
                    <a:off x="12760314" y="7851779"/>
                    <a:ext cx="114289" cy="113537"/>
                  </a:xfrm>
                  <a:prstGeom prst="chord">
                    <a:avLst>
                      <a:gd name="adj1" fmla="val 5390402"/>
                      <a:gd name="adj2" fmla="val 16200000"/>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635" name="Chord 634">
                    <a:extLst>
                      <a:ext uri="{FF2B5EF4-FFF2-40B4-BE49-F238E27FC236}">
                        <a16:creationId xmlns:a16="http://schemas.microsoft.com/office/drawing/2014/main" id="{1161C3E7-DFEF-61B5-0DBD-3C543F984919}"/>
                      </a:ext>
                    </a:extLst>
                  </p:cNvPr>
                  <p:cNvSpPr/>
                  <p:nvPr/>
                </p:nvSpPr>
                <p:spPr>
                  <a:xfrm>
                    <a:off x="13478890" y="7584440"/>
                    <a:ext cx="114289" cy="113537"/>
                  </a:xfrm>
                  <a:prstGeom prst="chord">
                    <a:avLst>
                      <a:gd name="adj1" fmla="val 5390402"/>
                      <a:gd name="adj2" fmla="val 16200000"/>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636" name="Chord 635">
                    <a:extLst>
                      <a:ext uri="{FF2B5EF4-FFF2-40B4-BE49-F238E27FC236}">
                        <a16:creationId xmlns:a16="http://schemas.microsoft.com/office/drawing/2014/main" id="{0C92DC54-6A3D-8EFA-B33A-57C754BAF28E}"/>
                      </a:ext>
                    </a:extLst>
                  </p:cNvPr>
                  <p:cNvSpPr/>
                  <p:nvPr/>
                </p:nvSpPr>
                <p:spPr>
                  <a:xfrm>
                    <a:off x="13119688" y="7859064"/>
                    <a:ext cx="114289" cy="113537"/>
                  </a:xfrm>
                  <a:prstGeom prst="chord">
                    <a:avLst>
                      <a:gd name="adj1" fmla="val 5390402"/>
                      <a:gd name="adj2" fmla="val 16200000"/>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637" name="Chord 636">
                    <a:extLst>
                      <a:ext uri="{FF2B5EF4-FFF2-40B4-BE49-F238E27FC236}">
                        <a16:creationId xmlns:a16="http://schemas.microsoft.com/office/drawing/2014/main" id="{11221C2D-B694-C7E9-86EC-70B00EA714E0}"/>
                      </a:ext>
                    </a:extLst>
                  </p:cNvPr>
                  <p:cNvSpPr/>
                  <p:nvPr/>
                </p:nvSpPr>
                <p:spPr>
                  <a:xfrm>
                    <a:off x="14335959" y="7800994"/>
                    <a:ext cx="114289" cy="113537"/>
                  </a:xfrm>
                  <a:prstGeom prst="chord">
                    <a:avLst>
                      <a:gd name="adj1" fmla="val 5390402"/>
                      <a:gd name="adj2" fmla="val 16200000"/>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grpSp>
          </p:grpSp>
          <p:sp>
            <p:nvSpPr>
              <p:cNvPr id="549" name="Chord 548">
                <a:extLst>
                  <a:ext uri="{FF2B5EF4-FFF2-40B4-BE49-F238E27FC236}">
                    <a16:creationId xmlns:a16="http://schemas.microsoft.com/office/drawing/2014/main" id="{A6FF3795-120D-6116-346F-C7E73051345B}"/>
                  </a:ext>
                </a:extLst>
              </p:cNvPr>
              <p:cNvSpPr/>
              <p:nvPr/>
            </p:nvSpPr>
            <p:spPr>
              <a:xfrm>
                <a:off x="4287216" y="3696287"/>
                <a:ext cx="114289" cy="113537"/>
              </a:xfrm>
              <a:prstGeom prst="chord">
                <a:avLst>
                  <a:gd name="adj1" fmla="val 5390402"/>
                  <a:gd name="adj2" fmla="val 16200000"/>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50" name="Chord 549">
                <a:extLst>
                  <a:ext uri="{FF2B5EF4-FFF2-40B4-BE49-F238E27FC236}">
                    <a16:creationId xmlns:a16="http://schemas.microsoft.com/office/drawing/2014/main" id="{8D96B681-6641-24E0-8999-51B0AFB37392}"/>
                  </a:ext>
                </a:extLst>
              </p:cNvPr>
              <p:cNvSpPr/>
              <p:nvPr/>
            </p:nvSpPr>
            <p:spPr>
              <a:xfrm>
                <a:off x="7678032" y="3340390"/>
                <a:ext cx="114289" cy="113537"/>
              </a:xfrm>
              <a:prstGeom prst="chord">
                <a:avLst>
                  <a:gd name="adj1" fmla="val 5390402"/>
                  <a:gd name="adj2" fmla="val 16200000"/>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51" name="Chord 550">
                <a:extLst>
                  <a:ext uri="{FF2B5EF4-FFF2-40B4-BE49-F238E27FC236}">
                    <a16:creationId xmlns:a16="http://schemas.microsoft.com/office/drawing/2014/main" id="{C7C1E6AE-E408-73CB-03F0-83B53C9C04D9}"/>
                  </a:ext>
                </a:extLst>
              </p:cNvPr>
              <p:cNvSpPr/>
              <p:nvPr/>
            </p:nvSpPr>
            <p:spPr>
              <a:xfrm>
                <a:off x="7822203" y="3340389"/>
                <a:ext cx="114289" cy="113537"/>
              </a:xfrm>
              <a:prstGeom prst="chord">
                <a:avLst>
                  <a:gd name="adj1" fmla="val 5390402"/>
                  <a:gd name="adj2" fmla="val 16200000"/>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52" name="Chord 551">
                <a:extLst>
                  <a:ext uri="{FF2B5EF4-FFF2-40B4-BE49-F238E27FC236}">
                    <a16:creationId xmlns:a16="http://schemas.microsoft.com/office/drawing/2014/main" id="{530AD565-3C97-5800-7899-8CBC05C8543F}"/>
                  </a:ext>
                </a:extLst>
              </p:cNvPr>
              <p:cNvSpPr/>
              <p:nvPr/>
            </p:nvSpPr>
            <p:spPr>
              <a:xfrm>
                <a:off x="7901006" y="3153921"/>
                <a:ext cx="114289" cy="113537"/>
              </a:xfrm>
              <a:prstGeom prst="chord">
                <a:avLst>
                  <a:gd name="adj1" fmla="val 5390402"/>
                  <a:gd name="adj2" fmla="val 16200000"/>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53" name="Chord 552">
                <a:extLst>
                  <a:ext uri="{FF2B5EF4-FFF2-40B4-BE49-F238E27FC236}">
                    <a16:creationId xmlns:a16="http://schemas.microsoft.com/office/drawing/2014/main" id="{66957B79-6F0E-AB07-D673-C78842CEA38C}"/>
                  </a:ext>
                </a:extLst>
              </p:cNvPr>
              <p:cNvSpPr/>
              <p:nvPr/>
            </p:nvSpPr>
            <p:spPr>
              <a:xfrm>
                <a:off x="4321243" y="2590412"/>
                <a:ext cx="114289" cy="113537"/>
              </a:xfrm>
              <a:prstGeom prst="chord">
                <a:avLst>
                  <a:gd name="adj1" fmla="val 5390402"/>
                  <a:gd name="adj2" fmla="val 16200000"/>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sp>
            <p:nvSpPr>
              <p:cNvPr id="554" name="Chord 553">
                <a:extLst>
                  <a:ext uri="{FF2B5EF4-FFF2-40B4-BE49-F238E27FC236}">
                    <a16:creationId xmlns:a16="http://schemas.microsoft.com/office/drawing/2014/main" id="{EBEDF487-7A2F-AEDD-B050-57D9A9F1FD70}"/>
                  </a:ext>
                </a:extLst>
              </p:cNvPr>
              <p:cNvSpPr/>
              <p:nvPr/>
            </p:nvSpPr>
            <p:spPr>
              <a:xfrm>
                <a:off x="4523070" y="2581755"/>
                <a:ext cx="114289" cy="113537"/>
              </a:xfrm>
              <a:prstGeom prst="chord">
                <a:avLst>
                  <a:gd name="adj1" fmla="val 5390402"/>
                  <a:gd name="adj2" fmla="val 16200000"/>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grpSp>
        <p:sp>
          <p:nvSpPr>
            <p:cNvPr id="547" name="Chord 546">
              <a:extLst>
                <a:ext uri="{FF2B5EF4-FFF2-40B4-BE49-F238E27FC236}">
                  <a16:creationId xmlns:a16="http://schemas.microsoft.com/office/drawing/2014/main" id="{C5277279-2D9A-E4B8-9ED9-972A5502B777}"/>
                </a:ext>
              </a:extLst>
            </p:cNvPr>
            <p:cNvSpPr/>
            <p:nvPr/>
          </p:nvSpPr>
          <p:spPr>
            <a:xfrm>
              <a:off x="4929127" y="4828878"/>
              <a:ext cx="114289" cy="113537"/>
            </a:xfrm>
            <a:prstGeom prst="chord">
              <a:avLst>
                <a:gd name="adj1" fmla="val 5390402"/>
                <a:gd name="adj2" fmla="val 16200000"/>
              </a:avLst>
            </a:prstGeom>
            <a:solidFill>
              <a:srgbClr val="5AACD6"/>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a:ea typeface="+mn-ea"/>
                <a:cs typeface="+mn-cs"/>
              </a:endParaRPr>
            </a:p>
          </p:txBody>
        </p:sp>
      </p:grpSp>
    </p:spTree>
    <p:extLst>
      <p:ext uri="{BB962C8B-B14F-4D97-AF65-F5344CB8AC3E}">
        <p14:creationId xmlns:p14="http://schemas.microsoft.com/office/powerpoint/2010/main" val="25676805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1" name="Rectangle 530">
            <a:extLst>
              <a:ext uri="{FF2B5EF4-FFF2-40B4-BE49-F238E27FC236}">
                <a16:creationId xmlns:a16="http://schemas.microsoft.com/office/drawing/2014/main" id="{01F46DB5-85CD-9626-E337-4E708245FF7A}"/>
              </a:ext>
            </a:extLst>
          </p:cNvPr>
          <p:cNvSpPr/>
          <p:nvPr/>
        </p:nvSpPr>
        <p:spPr>
          <a:xfrm>
            <a:off x="4550735" y="1032520"/>
            <a:ext cx="7654468" cy="46824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1F2F2"/>
              </a:solidFill>
              <a:effectLst/>
              <a:uLnTx/>
              <a:uFillTx/>
              <a:latin typeface="Arial"/>
              <a:ea typeface="+mn-ea"/>
              <a:cs typeface="+mn-cs"/>
            </a:endParaRPr>
          </a:p>
        </p:txBody>
      </p:sp>
      <p:sp>
        <p:nvSpPr>
          <p:cNvPr id="2" name="Title 1">
            <a:extLst>
              <a:ext uri="{FF2B5EF4-FFF2-40B4-BE49-F238E27FC236}">
                <a16:creationId xmlns:a16="http://schemas.microsoft.com/office/drawing/2014/main" id="{A815345A-760D-06D6-9FC0-8AE0AAC067E2}"/>
              </a:ext>
            </a:extLst>
          </p:cNvPr>
          <p:cNvSpPr>
            <a:spLocks noGrp="1"/>
          </p:cNvSpPr>
          <p:nvPr>
            <p:ph type="title"/>
          </p:nvPr>
        </p:nvSpPr>
        <p:spPr>
          <a:xfrm>
            <a:off x="245304" y="188640"/>
            <a:ext cx="11333888" cy="843880"/>
          </a:xfrm>
        </p:spPr>
        <p:txBody>
          <a:bodyPr anchor="ctr"/>
          <a:lstStyle/>
          <a:p>
            <a:pPr algn="l"/>
            <a:r>
              <a:rPr kumimoji="0" lang="en-US" sz="2800" b="0" i="0" u="none" strike="noStrike" kern="1200" cap="none" spc="0" normalizeH="0" baseline="0" noProof="0" dirty="0">
                <a:ln>
                  <a:noFill/>
                </a:ln>
                <a:solidFill>
                  <a:srgbClr val="000000"/>
                </a:solidFill>
                <a:effectLst/>
                <a:uLnTx/>
                <a:uFillTx/>
                <a:latin typeface="Avenir Next LT Pro Demi" panose="020B0704020202020204" pitchFamily="34" charset="0"/>
                <a:cs typeface="Arial" panose="020B0604020202020204" pitchFamily="34" charset="0"/>
              </a:rPr>
              <a:t>Managing Occupancy &amp; the Employee Experience</a:t>
            </a:r>
            <a:endParaRPr lang="en-CA" sz="2800" dirty="0">
              <a:latin typeface="Avenir Next LT Pro Demi" panose="020B0704020202020204" pitchFamily="34" charset="0"/>
            </a:endParaRPr>
          </a:p>
        </p:txBody>
      </p:sp>
      <p:sp>
        <p:nvSpPr>
          <p:cNvPr id="4" name="TextBox 3">
            <a:extLst>
              <a:ext uri="{FF2B5EF4-FFF2-40B4-BE49-F238E27FC236}">
                <a16:creationId xmlns:a16="http://schemas.microsoft.com/office/drawing/2014/main" id="{50356803-FC16-EDD3-41D2-F12ED660D11D}"/>
              </a:ext>
            </a:extLst>
          </p:cNvPr>
          <p:cNvSpPr txBox="1"/>
          <p:nvPr/>
        </p:nvSpPr>
        <p:spPr>
          <a:xfrm>
            <a:off x="0" y="1032520"/>
            <a:ext cx="4380374" cy="4682480"/>
          </a:xfrm>
          <a:prstGeom prst="rect">
            <a:avLst/>
          </a:prstGeom>
          <a:solidFill>
            <a:srgbClr val="FFFFFF"/>
          </a:solidFill>
          <a:ln>
            <a:noFill/>
          </a:ln>
        </p:spPr>
        <p:txBody>
          <a:bodyPr wrap="square" lIns="360000" tIns="252000" rIns="252000" bIns="252000" rtlCol="0" anchor="ctr" anchorCtr="0">
            <a:noAutofit/>
          </a:bodyPr>
          <a:lstStyle/>
          <a:p>
            <a:pPr marL="0" marR="0" lvl="0" indent="0" algn="l" defTabSz="914400" rtl="0" eaLnBrk="1" fontAlgn="auto" latinLnBrk="0" hangingPunct="1">
              <a:lnSpc>
                <a:spcPts val="3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rPr>
              <a:t>A major enabler to both the employee experience and occupancy management is the use of a space booking tool. However, in order for a space booking tool to be a </a:t>
            </a:r>
            <a:r>
              <a:rPr kumimoji="0" lang="en-CA" sz="1800" b="0" i="0" u="sng"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rPr>
              <a:t>successful</a:t>
            </a:r>
            <a:r>
              <a:rPr kumimoji="0" lang="en-CA" sz="18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rPr>
              <a:t> enabler, it must align to the type of workplace and </a:t>
            </a:r>
            <a:r>
              <a:rPr lang="en-CA" dirty="0">
                <a:solidFill>
                  <a:srgbClr val="000000"/>
                </a:solidFill>
                <a:latin typeface="Avenir Next LT Pro Demi" panose="020B0704020202020204" pitchFamily="34" charset="0"/>
              </a:rPr>
              <a:t>it</a:t>
            </a:r>
            <a:r>
              <a:rPr kumimoji="0" lang="en-CA" sz="18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rPr>
              <a:t>s utilization intention.</a:t>
            </a:r>
          </a:p>
        </p:txBody>
      </p:sp>
      <p:pic>
        <p:nvPicPr>
          <p:cNvPr id="20" name="Graphic 19" descr="Comment Like outline">
            <a:extLst>
              <a:ext uri="{FF2B5EF4-FFF2-40B4-BE49-F238E27FC236}">
                <a16:creationId xmlns:a16="http://schemas.microsoft.com/office/drawing/2014/main" id="{FAC7C843-4965-669F-4C02-E6B7D3B3A21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84092" y="1803086"/>
            <a:ext cx="542518" cy="542518"/>
          </a:xfrm>
          <a:prstGeom prst="rect">
            <a:avLst/>
          </a:prstGeom>
        </p:spPr>
      </p:pic>
      <p:pic>
        <p:nvPicPr>
          <p:cNvPr id="25" name="Graphic 24" descr="Smiling face outline with solid fill">
            <a:extLst>
              <a:ext uri="{FF2B5EF4-FFF2-40B4-BE49-F238E27FC236}">
                <a16:creationId xmlns:a16="http://schemas.microsoft.com/office/drawing/2014/main" id="{285A5090-189E-5692-A298-BE19462F77E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174171" y="1889851"/>
            <a:ext cx="395695" cy="395695"/>
          </a:xfrm>
          <a:prstGeom prst="rect">
            <a:avLst/>
          </a:prstGeom>
        </p:spPr>
      </p:pic>
      <p:pic>
        <p:nvPicPr>
          <p:cNvPr id="561" name="Graphic 560" descr="Laptop outline">
            <a:extLst>
              <a:ext uri="{FF2B5EF4-FFF2-40B4-BE49-F238E27FC236}">
                <a16:creationId xmlns:a16="http://schemas.microsoft.com/office/drawing/2014/main" id="{F00FB5AC-38FF-D7D5-6649-7091D739D8C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847626" y="2890293"/>
            <a:ext cx="3039533" cy="3039533"/>
          </a:xfrm>
          <a:prstGeom prst="rect">
            <a:avLst/>
          </a:prstGeom>
        </p:spPr>
      </p:pic>
      <p:pic>
        <p:nvPicPr>
          <p:cNvPr id="560" name="Graphic 559" descr="Badge Heart outline">
            <a:extLst>
              <a:ext uri="{FF2B5EF4-FFF2-40B4-BE49-F238E27FC236}">
                <a16:creationId xmlns:a16="http://schemas.microsoft.com/office/drawing/2014/main" id="{9DE70561-0C66-B95F-A864-DA84815EF97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964182" y="1639582"/>
            <a:ext cx="327008" cy="327008"/>
          </a:xfrm>
          <a:prstGeom prst="rect">
            <a:avLst/>
          </a:prstGeom>
        </p:spPr>
      </p:pic>
      <p:sp>
        <p:nvSpPr>
          <p:cNvPr id="567" name="Rectangle 566">
            <a:extLst>
              <a:ext uri="{FF2B5EF4-FFF2-40B4-BE49-F238E27FC236}">
                <a16:creationId xmlns:a16="http://schemas.microsoft.com/office/drawing/2014/main" id="{E310F9FE-6FB5-D4D4-2CC1-A4730913EB10}"/>
              </a:ext>
            </a:extLst>
          </p:cNvPr>
          <p:cNvSpPr/>
          <p:nvPr/>
        </p:nvSpPr>
        <p:spPr>
          <a:xfrm>
            <a:off x="8170334" y="4050328"/>
            <a:ext cx="143933" cy="127000"/>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568" name="Rectangle 567">
            <a:extLst>
              <a:ext uri="{FF2B5EF4-FFF2-40B4-BE49-F238E27FC236}">
                <a16:creationId xmlns:a16="http://schemas.microsoft.com/office/drawing/2014/main" id="{D8209108-1585-D78A-F1C1-47C98DB50B9F}"/>
              </a:ext>
            </a:extLst>
          </p:cNvPr>
          <p:cNvSpPr/>
          <p:nvPr/>
        </p:nvSpPr>
        <p:spPr>
          <a:xfrm>
            <a:off x="8322734" y="4202728"/>
            <a:ext cx="143933" cy="127000"/>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569" name="Rectangle 568">
            <a:extLst>
              <a:ext uri="{FF2B5EF4-FFF2-40B4-BE49-F238E27FC236}">
                <a16:creationId xmlns:a16="http://schemas.microsoft.com/office/drawing/2014/main" id="{10EF7783-4FD2-B1E6-291D-609E784DF019}"/>
              </a:ext>
            </a:extLst>
          </p:cNvPr>
          <p:cNvSpPr/>
          <p:nvPr/>
        </p:nvSpPr>
        <p:spPr>
          <a:xfrm>
            <a:off x="8610600" y="4351382"/>
            <a:ext cx="143933" cy="127000"/>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570" name="Rectangle 569">
            <a:extLst>
              <a:ext uri="{FF2B5EF4-FFF2-40B4-BE49-F238E27FC236}">
                <a16:creationId xmlns:a16="http://schemas.microsoft.com/office/drawing/2014/main" id="{B7AECFEB-C6AD-1C5B-49B6-F6F7A4FBDE88}"/>
              </a:ext>
            </a:extLst>
          </p:cNvPr>
          <p:cNvSpPr/>
          <p:nvPr/>
        </p:nvSpPr>
        <p:spPr>
          <a:xfrm>
            <a:off x="8033188" y="4495800"/>
            <a:ext cx="143933" cy="127000"/>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pic>
        <p:nvPicPr>
          <p:cNvPr id="565" name="Graphic 564" descr="Group success with solid fill">
            <a:extLst>
              <a:ext uri="{FF2B5EF4-FFF2-40B4-BE49-F238E27FC236}">
                <a16:creationId xmlns:a16="http://schemas.microsoft.com/office/drawing/2014/main" id="{1CF7B22F-9F0D-7E23-9791-8B5018D3DB5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264108" y="2002751"/>
            <a:ext cx="1583518" cy="1583518"/>
          </a:xfrm>
          <a:prstGeom prst="rect">
            <a:avLst/>
          </a:prstGeom>
        </p:spPr>
      </p:pic>
      <p:sp>
        <p:nvSpPr>
          <p:cNvPr id="571" name="Rectangle 570">
            <a:extLst>
              <a:ext uri="{FF2B5EF4-FFF2-40B4-BE49-F238E27FC236}">
                <a16:creationId xmlns:a16="http://schemas.microsoft.com/office/drawing/2014/main" id="{710617F2-A895-9E9D-193F-5F41F3D8175C}"/>
              </a:ext>
            </a:extLst>
          </p:cNvPr>
          <p:cNvSpPr/>
          <p:nvPr/>
        </p:nvSpPr>
        <p:spPr>
          <a:xfrm>
            <a:off x="8610599" y="4050328"/>
            <a:ext cx="143933" cy="127000"/>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572" name="Rectangle 571">
            <a:extLst>
              <a:ext uri="{FF2B5EF4-FFF2-40B4-BE49-F238E27FC236}">
                <a16:creationId xmlns:a16="http://schemas.microsoft.com/office/drawing/2014/main" id="{51480568-1A91-8ADA-D182-0C89E0E1D0D6}"/>
              </a:ext>
            </a:extLst>
          </p:cNvPr>
          <p:cNvSpPr/>
          <p:nvPr/>
        </p:nvSpPr>
        <p:spPr>
          <a:xfrm>
            <a:off x="8453453" y="4359259"/>
            <a:ext cx="143933" cy="127000"/>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pic>
        <p:nvPicPr>
          <p:cNvPr id="18" name="Graphic 17" descr="Monthly calendar outline">
            <a:extLst>
              <a:ext uri="{FF2B5EF4-FFF2-40B4-BE49-F238E27FC236}">
                <a16:creationId xmlns:a16="http://schemas.microsoft.com/office/drawing/2014/main" id="{89D7130C-0070-2BF2-9D04-6E76D6C76A3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689185" y="3581217"/>
            <a:ext cx="1394409" cy="1394409"/>
          </a:xfrm>
          <a:prstGeom prst="rect">
            <a:avLst/>
          </a:prstGeom>
        </p:spPr>
      </p:pic>
      <p:grpSp>
        <p:nvGrpSpPr>
          <p:cNvPr id="579" name="Google Shape;1311;p104">
            <a:extLst>
              <a:ext uri="{FF2B5EF4-FFF2-40B4-BE49-F238E27FC236}">
                <a16:creationId xmlns:a16="http://schemas.microsoft.com/office/drawing/2014/main" id="{DBB6B397-1B7F-0EE2-F3D2-2403B9790260}"/>
              </a:ext>
            </a:extLst>
          </p:cNvPr>
          <p:cNvGrpSpPr/>
          <p:nvPr/>
        </p:nvGrpSpPr>
        <p:grpSpPr>
          <a:xfrm>
            <a:off x="10071801" y="1579995"/>
            <a:ext cx="958204" cy="1825609"/>
            <a:chOff x="4284219" y="2244933"/>
            <a:chExt cx="1743300" cy="3478195"/>
          </a:xfrm>
        </p:grpSpPr>
        <p:sp>
          <p:nvSpPr>
            <p:cNvPr id="585" name="Google Shape;1312;p104">
              <a:extLst>
                <a:ext uri="{FF2B5EF4-FFF2-40B4-BE49-F238E27FC236}">
                  <a16:creationId xmlns:a16="http://schemas.microsoft.com/office/drawing/2014/main" id="{B5B3E021-A3F7-3A33-EC47-098B43CB008A}"/>
                </a:ext>
              </a:extLst>
            </p:cNvPr>
            <p:cNvSpPr/>
            <p:nvPr/>
          </p:nvSpPr>
          <p:spPr>
            <a:xfrm>
              <a:off x="4284219" y="2383528"/>
              <a:ext cx="1743300" cy="3339600"/>
            </a:xfrm>
            <a:prstGeom prst="roundRect">
              <a:avLst>
                <a:gd name="adj" fmla="val 3657"/>
              </a:avLst>
            </a:prstGeom>
            <a:solidFill>
              <a:srgbClr val="DEE0E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86" name="Google Shape;1313;p104">
              <a:extLst>
                <a:ext uri="{FF2B5EF4-FFF2-40B4-BE49-F238E27FC236}">
                  <a16:creationId xmlns:a16="http://schemas.microsoft.com/office/drawing/2014/main" id="{80586B91-A28B-FB71-62D3-BEE57F0A02A7}"/>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87" name="Google Shape;1314;p104">
              <a:extLst>
                <a:ext uri="{FF2B5EF4-FFF2-40B4-BE49-F238E27FC236}">
                  <a16:creationId xmlns:a16="http://schemas.microsoft.com/office/drawing/2014/main" id="{FB37452A-0D1A-F451-7054-B18B9A253FDF}"/>
                </a:ext>
              </a:extLst>
            </p:cNvPr>
            <p:cNvSpPr/>
            <p:nvPr/>
          </p:nvSpPr>
          <p:spPr>
            <a:xfrm>
              <a:off x="4520683" y="2244933"/>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88" name="Google Shape;1315;p104">
              <a:extLst>
                <a:ext uri="{FF2B5EF4-FFF2-40B4-BE49-F238E27FC236}">
                  <a16:creationId xmlns:a16="http://schemas.microsoft.com/office/drawing/2014/main" id="{BBD727E7-3C21-1EEA-FB1F-1B1B14CA4BCB}"/>
                </a:ext>
              </a:extLst>
            </p:cNvPr>
            <p:cNvSpPr/>
            <p:nvPr/>
          </p:nvSpPr>
          <p:spPr>
            <a:xfrm>
              <a:off x="4408827" y="2517271"/>
              <a:ext cx="216900" cy="216900"/>
            </a:xfrm>
            <a:prstGeom prst="roundRect">
              <a:avLst>
                <a:gd name="adj" fmla="val 16667"/>
              </a:avLst>
            </a:prstGeom>
            <a:solidFill>
              <a:srgbClr val="92D05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89" name="Google Shape;1316;p104">
              <a:extLst>
                <a:ext uri="{FF2B5EF4-FFF2-40B4-BE49-F238E27FC236}">
                  <a16:creationId xmlns:a16="http://schemas.microsoft.com/office/drawing/2014/main" id="{19D05645-DA34-6FD4-6033-3C458D8C3F5C}"/>
                </a:ext>
              </a:extLst>
            </p:cNvPr>
            <p:cNvSpPr/>
            <p:nvPr/>
          </p:nvSpPr>
          <p:spPr>
            <a:xfrm>
              <a:off x="4716593" y="2517271"/>
              <a:ext cx="216900" cy="216900"/>
            </a:xfrm>
            <a:prstGeom prst="roundRect">
              <a:avLst>
                <a:gd name="adj" fmla="val 16667"/>
              </a:avLst>
            </a:prstGeom>
            <a:solidFill>
              <a:srgbClr val="92D05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90" name="Google Shape;1317;p104">
              <a:extLst>
                <a:ext uri="{FF2B5EF4-FFF2-40B4-BE49-F238E27FC236}">
                  <a16:creationId xmlns:a16="http://schemas.microsoft.com/office/drawing/2014/main" id="{06A04339-178C-18B0-41EA-CCEB06EF8B0C}"/>
                </a:ext>
              </a:extLst>
            </p:cNvPr>
            <p:cNvSpPr/>
            <p:nvPr/>
          </p:nvSpPr>
          <p:spPr>
            <a:xfrm>
              <a:off x="5024359" y="2517271"/>
              <a:ext cx="216900" cy="216900"/>
            </a:xfrm>
            <a:prstGeom prst="roundRect">
              <a:avLst>
                <a:gd name="adj" fmla="val 16667"/>
              </a:avLst>
            </a:prstGeom>
            <a:solidFill>
              <a:srgbClr val="92D05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91" name="Google Shape;1318;p104">
              <a:extLst>
                <a:ext uri="{FF2B5EF4-FFF2-40B4-BE49-F238E27FC236}">
                  <a16:creationId xmlns:a16="http://schemas.microsoft.com/office/drawing/2014/main" id="{62DCF521-AC4E-A335-B4E6-C4F21CB41ECF}"/>
                </a:ext>
              </a:extLst>
            </p:cNvPr>
            <p:cNvSpPr/>
            <p:nvPr/>
          </p:nvSpPr>
          <p:spPr>
            <a:xfrm>
              <a:off x="5332125" y="2517271"/>
              <a:ext cx="2169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92" name="Google Shape;1304;p104">
              <a:extLst>
                <a:ext uri="{FF2B5EF4-FFF2-40B4-BE49-F238E27FC236}">
                  <a16:creationId xmlns:a16="http://schemas.microsoft.com/office/drawing/2014/main" id="{3B37CABC-924F-B3CF-E0AF-21F7B903B878}"/>
                </a:ext>
              </a:extLst>
            </p:cNvPr>
            <p:cNvSpPr/>
            <p:nvPr/>
          </p:nvSpPr>
          <p:spPr>
            <a:xfrm>
              <a:off x="5639891" y="2517271"/>
              <a:ext cx="2169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lumMod val="90000"/>
                  </a:srgbClr>
                </a:solidFill>
                <a:effectLst/>
                <a:uLnTx/>
                <a:uFillTx/>
                <a:latin typeface="Arial"/>
                <a:ea typeface="Arial"/>
                <a:cs typeface="Arial"/>
                <a:sym typeface="Arial"/>
              </a:endParaRPr>
            </a:p>
          </p:txBody>
        </p:sp>
        <p:sp>
          <p:nvSpPr>
            <p:cNvPr id="593" name="Google Shape;1319;p104">
              <a:extLst>
                <a:ext uri="{FF2B5EF4-FFF2-40B4-BE49-F238E27FC236}">
                  <a16:creationId xmlns:a16="http://schemas.microsoft.com/office/drawing/2014/main" id="{686FDBC1-F271-5FA4-95FD-04D63441F259}"/>
                </a:ext>
              </a:extLst>
            </p:cNvPr>
            <p:cNvSpPr/>
            <p:nvPr/>
          </p:nvSpPr>
          <p:spPr>
            <a:xfrm>
              <a:off x="4408827" y="2898722"/>
              <a:ext cx="216900" cy="216900"/>
            </a:xfrm>
            <a:prstGeom prst="roundRect">
              <a:avLst>
                <a:gd name="adj" fmla="val 16667"/>
              </a:avLst>
            </a:prstGeom>
            <a:solidFill>
              <a:srgbClr val="92D05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94" name="Google Shape;1320;p104">
              <a:extLst>
                <a:ext uri="{FF2B5EF4-FFF2-40B4-BE49-F238E27FC236}">
                  <a16:creationId xmlns:a16="http://schemas.microsoft.com/office/drawing/2014/main" id="{67E9C268-6521-A7AD-6CA1-CD8AC89BA92D}"/>
                </a:ext>
              </a:extLst>
            </p:cNvPr>
            <p:cNvSpPr/>
            <p:nvPr/>
          </p:nvSpPr>
          <p:spPr>
            <a:xfrm>
              <a:off x="4716593" y="2898722"/>
              <a:ext cx="216900" cy="216900"/>
            </a:xfrm>
            <a:prstGeom prst="roundRect">
              <a:avLst>
                <a:gd name="adj" fmla="val 16667"/>
              </a:avLst>
            </a:prstGeom>
            <a:solidFill>
              <a:srgbClr val="92D05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95" name="Google Shape;1321;p104">
              <a:extLst>
                <a:ext uri="{FF2B5EF4-FFF2-40B4-BE49-F238E27FC236}">
                  <a16:creationId xmlns:a16="http://schemas.microsoft.com/office/drawing/2014/main" id="{8B78220E-0B2D-CF1F-B064-DCD8E852F53C}"/>
                </a:ext>
              </a:extLst>
            </p:cNvPr>
            <p:cNvSpPr/>
            <p:nvPr/>
          </p:nvSpPr>
          <p:spPr>
            <a:xfrm>
              <a:off x="5024358" y="2898723"/>
              <a:ext cx="2169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96" name="Google Shape;1322;p104">
              <a:extLst>
                <a:ext uri="{FF2B5EF4-FFF2-40B4-BE49-F238E27FC236}">
                  <a16:creationId xmlns:a16="http://schemas.microsoft.com/office/drawing/2014/main" id="{358F22B7-7E2C-E97D-0C3F-FE5ADD418821}"/>
                </a:ext>
              </a:extLst>
            </p:cNvPr>
            <p:cNvSpPr/>
            <p:nvPr/>
          </p:nvSpPr>
          <p:spPr>
            <a:xfrm>
              <a:off x="5332124" y="2898723"/>
              <a:ext cx="2169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97" name="Google Shape;1297;p104">
              <a:extLst>
                <a:ext uri="{FF2B5EF4-FFF2-40B4-BE49-F238E27FC236}">
                  <a16:creationId xmlns:a16="http://schemas.microsoft.com/office/drawing/2014/main" id="{688C7224-D9C3-06EE-CA28-1D115CC64D5E}"/>
                </a:ext>
              </a:extLst>
            </p:cNvPr>
            <p:cNvSpPr/>
            <p:nvPr/>
          </p:nvSpPr>
          <p:spPr>
            <a:xfrm>
              <a:off x="5639890" y="2898723"/>
              <a:ext cx="2169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lumMod val="90000"/>
                  </a:srgbClr>
                </a:solidFill>
                <a:effectLst/>
                <a:uLnTx/>
                <a:uFillTx/>
                <a:latin typeface="Arial"/>
                <a:ea typeface="Arial"/>
                <a:cs typeface="Arial"/>
                <a:sym typeface="Arial"/>
              </a:endParaRPr>
            </a:p>
          </p:txBody>
        </p:sp>
        <p:sp>
          <p:nvSpPr>
            <p:cNvPr id="598" name="Google Shape;1323;p104">
              <a:extLst>
                <a:ext uri="{FF2B5EF4-FFF2-40B4-BE49-F238E27FC236}">
                  <a16:creationId xmlns:a16="http://schemas.microsoft.com/office/drawing/2014/main" id="{6C507105-027D-8C6E-238D-6938C1FE327D}"/>
                </a:ext>
              </a:extLst>
            </p:cNvPr>
            <p:cNvSpPr/>
            <p:nvPr/>
          </p:nvSpPr>
          <p:spPr>
            <a:xfrm>
              <a:off x="4412188" y="3272389"/>
              <a:ext cx="216900" cy="216900"/>
            </a:xfrm>
            <a:prstGeom prst="roundRect">
              <a:avLst>
                <a:gd name="adj" fmla="val 16667"/>
              </a:avLst>
            </a:prstGeom>
            <a:solidFill>
              <a:srgbClr val="92D05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99" name="Google Shape;1324;p104">
              <a:extLst>
                <a:ext uri="{FF2B5EF4-FFF2-40B4-BE49-F238E27FC236}">
                  <a16:creationId xmlns:a16="http://schemas.microsoft.com/office/drawing/2014/main" id="{A7DEAB90-B60F-0D97-DD81-616CA76B3193}"/>
                </a:ext>
              </a:extLst>
            </p:cNvPr>
            <p:cNvSpPr/>
            <p:nvPr/>
          </p:nvSpPr>
          <p:spPr>
            <a:xfrm>
              <a:off x="4719954" y="3272389"/>
              <a:ext cx="216900" cy="216900"/>
            </a:xfrm>
            <a:prstGeom prst="roundRect">
              <a:avLst>
                <a:gd name="adj" fmla="val 16667"/>
              </a:avLst>
            </a:prstGeom>
            <a:solidFill>
              <a:srgbClr val="92D05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00" name="Google Shape;1325;p104">
              <a:extLst>
                <a:ext uri="{FF2B5EF4-FFF2-40B4-BE49-F238E27FC236}">
                  <a16:creationId xmlns:a16="http://schemas.microsoft.com/office/drawing/2014/main" id="{7ED007C5-CFDA-C310-5510-62B7D71FB716}"/>
                </a:ext>
              </a:extLst>
            </p:cNvPr>
            <p:cNvSpPr/>
            <p:nvPr/>
          </p:nvSpPr>
          <p:spPr>
            <a:xfrm>
              <a:off x="5027720" y="3272388"/>
              <a:ext cx="216900" cy="216900"/>
            </a:xfrm>
            <a:prstGeom prst="roundRect">
              <a:avLst>
                <a:gd name="adj" fmla="val 16667"/>
              </a:avLst>
            </a:prstGeom>
            <a:solidFill>
              <a:srgbClr val="92D05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01" name="Google Shape;1326;p104">
              <a:extLst>
                <a:ext uri="{FF2B5EF4-FFF2-40B4-BE49-F238E27FC236}">
                  <a16:creationId xmlns:a16="http://schemas.microsoft.com/office/drawing/2014/main" id="{FBCEA9FA-2E8B-9E34-B464-686C38E6C1C8}"/>
                </a:ext>
              </a:extLst>
            </p:cNvPr>
            <p:cNvSpPr/>
            <p:nvPr/>
          </p:nvSpPr>
          <p:spPr>
            <a:xfrm>
              <a:off x="5335486" y="3272388"/>
              <a:ext cx="216900" cy="216900"/>
            </a:xfrm>
            <a:prstGeom prst="roundRect">
              <a:avLst>
                <a:gd name="adj" fmla="val 16667"/>
              </a:avLst>
            </a:prstGeom>
            <a:solidFill>
              <a:srgbClr val="92D05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02" name="Google Shape;1327;p104">
              <a:extLst>
                <a:ext uri="{FF2B5EF4-FFF2-40B4-BE49-F238E27FC236}">
                  <a16:creationId xmlns:a16="http://schemas.microsoft.com/office/drawing/2014/main" id="{149C16DA-850D-60B5-3638-388F23C84A47}"/>
                </a:ext>
              </a:extLst>
            </p:cNvPr>
            <p:cNvSpPr/>
            <p:nvPr/>
          </p:nvSpPr>
          <p:spPr>
            <a:xfrm>
              <a:off x="5643252" y="3272388"/>
              <a:ext cx="2169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lumMod val="90000"/>
                  </a:srgbClr>
                </a:solidFill>
                <a:effectLst/>
                <a:uLnTx/>
                <a:uFillTx/>
                <a:latin typeface="Arial"/>
                <a:ea typeface="Arial"/>
                <a:cs typeface="Arial"/>
                <a:sym typeface="Arial"/>
              </a:endParaRPr>
            </a:p>
          </p:txBody>
        </p:sp>
        <p:sp>
          <p:nvSpPr>
            <p:cNvPr id="603" name="Google Shape;1328;p104">
              <a:extLst>
                <a:ext uri="{FF2B5EF4-FFF2-40B4-BE49-F238E27FC236}">
                  <a16:creationId xmlns:a16="http://schemas.microsoft.com/office/drawing/2014/main" id="{4EAFD76A-2D37-02D6-BBE1-9DF85ABD547D}"/>
                </a:ext>
              </a:extLst>
            </p:cNvPr>
            <p:cNvSpPr/>
            <p:nvPr/>
          </p:nvSpPr>
          <p:spPr>
            <a:xfrm>
              <a:off x="4421383" y="3653839"/>
              <a:ext cx="216900" cy="216900"/>
            </a:xfrm>
            <a:prstGeom prst="roundRect">
              <a:avLst>
                <a:gd name="adj" fmla="val 16667"/>
              </a:avLst>
            </a:prstGeom>
            <a:solidFill>
              <a:srgbClr val="92D05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04" name="Google Shape;1329;p104">
              <a:extLst>
                <a:ext uri="{FF2B5EF4-FFF2-40B4-BE49-F238E27FC236}">
                  <a16:creationId xmlns:a16="http://schemas.microsoft.com/office/drawing/2014/main" id="{E04E06F4-3D04-DEC5-7700-16096EB9EFD1}"/>
                </a:ext>
              </a:extLst>
            </p:cNvPr>
            <p:cNvSpPr/>
            <p:nvPr/>
          </p:nvSpPr>
          <p:spPr>
            <a:xfrm>
              <a:off x="4729149" y="3653839"/>
              <a:ext cx="216900" cy="216900"/>
            </a:xfrm>
            <a:prstGeom prst="roundRect">
              <a:avLst>
                <a:gd name="adj" fmla="val 16667"/>
              </a:avLst>
            </a:prstGeom>
            <a:solidFill>
              <a:srgbClr val="92D05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05" name="Google Shape;1330;p104">
              <a:extLst>
                <a:ext uri="{FF2B5EF4-FFF2-40B4-BE49-F238E27FC236}">
                  <a16:creationId xmlns:a16="http://schemas.microsoft.com/office/drawing/2014/main" id="{D4F165DB-B660-D009-25F9-13DCD924E81C}"/>
                </a:ext>
              </a:extLst>
            </p:cNvPr>
            <p:cNvSpPr/>
            <p:nvPr/>
          </p:nvSpPr>
          <p:spPr>
            <a:xfrm>
              <a:off x="5036914" y="3653840"/>
              <a:ext cx="216900" cy="216900"/>
            </a:xfrm>
            <a:prstGeom prst="roundRect">
              <a:avLst>
                <a:gd name="adj" fmla="val 16667"/>
              </a:avLst>
            </a:prstGeom>
            <a:solidFill>
              <a:srgbClr val="92D05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06" name="Google Shape;1331;p104">
              <a:extLst>
                <a:ext uri="{FF2B5EF4-FFF2-40B4-BE49-F238E27FC236}">
                  <a16:creationId xmlns:a16="http://schemas.microsoft.com/office/drawing/2014/main" id="{999D9F86-972B-4F12-2AE0-97E6D31674BC}"/>
                </a:ext>
              </a:extLst>
            </p:cNvPr>
            <p:cNvSpPr/>
            <p:nvPr/>
          </p:nvSpPr>
          <p:spPr>
            <a:xfrm>
              <a:off x="5344680" y="3653840"/>
              <a:ext cx="216900" cy="216900"/>
            </a:xfrm>
            <a:prstGeom prst="roundRect">
              <a:avLst>
                <a:gd name="adj" fmla="val 16667"/>
              </a:avLst>
            </a:prstGeom>
            <a:solidFill>
              <a:srgbClr val="92D05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07" name="Google Shape;1332;p104">
              <a:extLst>
                <a:ext uri="{FF2B5EF4-FFF2-40B4-BE49-F238E27FC236}">
                  <a16:creationId xmlns:a16="http://schemas.microsoft.com/office/drawing/2014/main" id="{B9693FE3-01A3-4E00-F6B2-7EDB92DCD353}"/>
                </a:ext>
              </a:extLst>
            </p:cNvPr>
            <p:cNvSpPr/>
            <p:nvPr/>
          </p:nvSpPr>
          <p:spPr>
            <a:xfrm>
              <a:off x="5652446" y="3653840"/>
              <a:ext cx="2169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lumMod val="90000"/>
                  </a:srgbClr>
                </a:solidFill>
                <a:effectLst/>
                <a:uLnTx/>
                <a:uFillTx/>
                <a:latin typeface="Arial"/>
                <a:ea typeface="Arial"/>
                <a:cs typeface="Arial"/>
                <a:sym typeface="Arial"/>
              </a:endParaRPr>
            </a:p>
          </p:txBody>
        </p:sp>
        <p:sp>
          <p:nvSpPr>
            <p:cNvPr id="608" name="Google Shape;1333;p104">
              <a:extLst>
                <a:ext uri="{FF2B5EF4-FFF2-40B4-BE49-F238E27FC236}">
                  <a16:creationId xmlns:a16="http://schemas.microsoft.com/office/drawing/2014/main" id="{28FE0723-874A-45DF-A597-46CE099D63B6}"/>
                </a:ext>
              </a:extLst>
            </p:cNvPr>
            <p:cNvSpPr/>
            <p:nvPr/>
          </p:nvSpPr>
          <p:spPr>
            <a:xfrm>
              <a:off x="4426319" y="4032129"/>
              <a:ext cx="216900" cy="216900"/>
            </a:xfrm>
            <a:prstGeom prst="roundRect">
              <a:avLst>
                <a:gd name="adj" fmla="val 16667"/>
              </a:avLst>
            </a:prstGeom>
            <a:solidFill>
              <a:srgbClr val="92D05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09" name="Google Shape;1334;p104">
              <a:extLst>
                <a:ext uri="{FF2B5EF4-FFF2-40B4-BE49-F238E27FC236}">
                  <a16:creationId xmlns:a16="http://schemas.microsoft.com/office/drawing/2014/main" id="{5CF5DFD6-5160-1E38-46B3-D02AFC579A3D}"/>
                </a:ext>
              </a:extLst>
            </p:cNvPr>
            <p:cNvSpPr/>
            <p:nvPr/>
          </p:nvSpPr>
          <p:spPr>
            <a:xfrm>
              <a:off x="4734085" y="4032129"/>
              <a:ext cx="2169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lumMod val="90000"/>
                  </a:srgbClr>
                </a:solidFill>
                <a:effectLst/>
                <a:uLnTx/>
                <a:uFillTx/>
                <a:latin typeface="Arial"/>
                <a:ea typeface="Arial"/>
                <a:cs typeface="Arial"/>
                <a:sym typeface="Arial"/>
              </a:endParaRPr>
            </a:p>
          </p:txBody>
        </p:sp>
        <p:sp>
          <p:nvSpPr>
            <p:cNvPr id="610" name="Google Shape;1335;p104">
              <a:extLst>
                <a:ext uri="{FF2B5EF4-FFF2-40B4-BE49-F238E27FC236}">
                  <a16:creationId xmlns:a16="http://schemas.microsoft.com/office/drawing/2014/main" id="{BFFD57E7-F4F8-DF70-7D49-96BEC999B659}"/>
                </a:ext>
              </a:extLst>
            </p:cNvPr>
            <p:cNvSpPr/>
            <p:nvPr/>
          </p:nvSpPr>
          <p:spPr>
            <a:xfrm>
              <a:off x="5041851" y="4032129"/>
              <a:ext cx="2169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lumMod val="90000"/>
                  </a:srgbClr>
                </a:solidFill>
                <a:effectLst/>
                <a:uLnTx/>
                <a:uFillTx/>
                <a:latin typeface="Arial"/>
                <a:ea typeface="Arial"/>
                <a:cs typeface="Arial"/>
                <a:sym typeface="Arial"/>
              </a:endParaRPr>
            </a:p>
          </p:txBody>
        </p:sp>
        <p:sp>
          <p:nvSpPr>
            <p:cNvPr id="611" name="Google Shape;1336;p104">
              <a:extLst>
                <a:ext uri="{FF2B5EF4-FFF2-40B4-BE49-F238E27FC236}">
                  <a16:creationId xmlns:a16="http://schemas.microsoft.com/office/drawing/2014/main" id="{FC65A2EF-848A-155D-2DE9-07323D789BFA}"/>
                </a:ext>
              </a:extLst>
            </p:cNvPr>
            <p:cNvSpPr/>
            <p:nvPr/>
          </p:nvSpPr>
          <p:spPr>
            <a:xfrm>
              <a:off x="5349617" y="4032129"/>
              <a:ext cx="2169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lumMod val="90000"/>
                  </a:srgbClr>
                </a:solidFill>
                <a:effectLst/>
                <a:uLnTx/>
                <a:uFillTx/>
                <a:latin typeface="Arial"/>
                <a:ea typeface="Arial"/>
                <a:cs typeface="Arial"/>
                <a:sym typeface="Arial"/>
              </a:endParaRPr>
            </a:p>
          </p:txBody>
        </p:sp>
        <p:sp>
          <p:nvSpPr>
            <p:cNvPr id="612" name="Google Shape;1337;p104">
              <a:extLst>
                <a:ext uri="{FF2B5EF4-FFF2-40B4-BE49-F238E27FC236}">
                  <a16:creationId xmlns:a16="http://schemas.microsoft.com/office/drawing/2014/main" id="{37FA74EE-C6E7-F791-0D2F-5E3DB9638126}"/>
                </a:ext>
              </a:extLst>
            </p:cNvPr>
            <p:cNvSpPr/>
            <p:nvPr/>
          </p:nvSpPr>
          <p:spPr>
            <a:xfrm>
              <a:off x="5657383" y="4032129"/>
              <a:ext cx="2169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lumMod val="90000"/>
                  </a:srgbClr>
                </a:solidFill>
                <a:effectLst/>
                <a:uLnTx/>
                <a:uFillTx/>
                <a:latin typeface="Arial"/>
                <a:ea typeface="Arial"/>
                <a:cs typeface="Arial"/>
                <a:sym typeface="Arial"/>
              </a:endParaRPr>
            </a:p>
          </p:txBody>
        </p:sp>
        <p:sp>
          <p:nvSpPr>
            <p:cNvPr id="613" name="Google Shape;1338;p104">
              <a:extLst>
                <a:ext uri="{FF2B5EF4-FFF2-40B4-BE49-F238E27FC236}">
                  <a16:creationId xmlns:a16="http://schemas.microsoft.com/office/drawing/2014/main" id="{E917CBAC-EDCF-2EBC-8DB7-856A91F517EE}"/>
                </a:ext>
              </a:extLst>
            </p:cNvPr>
            <p:cNvSpPr/>
            <p:nvPr/>
          </p:nvSpPr>
          <p:spPr>
            <a:xfrm>
              <a:off x="4421382" y="4406686"/>
              <a:ext cx="216900" cy="216900"/>
            </a:xfrm>
            <a:prstGeom prst="roundRect">
              <a:avLst>
                <a:gd name="adj" fmla="val 16667"/>
              </a:avLst>
            </a:prstGeom>
            <a:solidFill>
              <a:srgbClr val="FF00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14" name="Google Shape;1339;p104">
              <a:extLst>
                <a:ext uri="{FF2B5EF4-FFF2-40B4-BE49-F238E27FC236}">
                  <a16:creationId xmlns:a16="http://schemas.microsoft.com/office/drawing/2014/main" id="{F44CEEDB-E6EA-26A8-0A10-DE0193BAD566}"/>
                </a:ext>
              </a:extLst>
            </p:cNvPr>
            <p:cNvSpPr/>
            <p:nvPr/>
          </p:nvSpPr>
          <p:spPr>
            <a:xfrm>
              <a:off x="4729149" y="4406687"/>
              <a:ext cx="216900" cy="216900"/>
            </a:xfrm>
            <a:prstGeom prst="roundRect">
              <a:avLst>
                <a:gd name="adj" fmla="val 16667"/>
              </a:avLst>
            </a:prstGeom>
            <a:solidFill>
              <a:srgbClr val="FF00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15" name="Google Shape;1340;p104">
              <a:extLst>
                <a:ext uri="{FF2B5EF4-FFF2-40B4-BE49-F238E27FC236}">
                  <a16:creationId xmlns:a16="http://schemas.microsoft.com/office/drawing/2014/main" id="{6DB92DD5-568A-675A-303F-D3D2B944AD53}"/>
                </a:ext>
              </a:extLst>
            </p:cNvPr>
            <p:cNvSpPr/>
            <p:nvPr/>
          </p:nvSpPr>
          <p:spPr>
            <a:xfrm>
              <a:off x="5036915" y="4406687"/>
              <a:ext cx="216900" cy="216900"/>
            </a:xfrm>
            <a:prstGeom prst="roundRect">
              <a:avLst>
                <a:gd name="adj" fmla="val 16667"/>
              </a:avLst>
            </a:prstGeom>
            <a:solidFill>
              <a:srgbClr val="FF00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16" name="Google Shape;1341;p104">
              <a:extLst>
                <a:ext uri="{FF2B5EF4-FFF2-40B4-BE49-F238E27FC236}">
                  <a16:creationId xmlns:a16="http://schemas.microsoft.com/office/drawing/2014/main" id="{9B0B2725-5726-6186-7470-27970A485887}"/>
                </a:ext>
              </a:extLst>
            </p:cNvPr>
            <p:cNvSpPr/>
            <p:nvPr/>
          </p:nvSpPr>
          <p:spPr>
            <a:xfrm>
              <a:off x="5344681" y="4406687"/>
              <a:ext cx="216900" cy="216900"/>
            </a:xfrm>
            <a:prstGeom prst="roundRect">
              <a:avLst>
                <a:gd name="adj" fmla="val 16667"/>
              </a:avLst>
            </a:prstGeom>
            <a:solidFill>
              <a:srgbClr val="FF00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17" name="Google Shape;1342;p104">
              <a:extLst>
                <a:ext uri="{FF2B5EF4-FFF2-40B4-BE49-F238E27FC236}">
                  <a16:creationId xmlns:a16="http://schemas.microsoft.com/office/drawing/2014/main" id="{29905740-32FF-C042-BFBF-0AFF3171907C}"/>
                </a:ext>
              </a:extLst>
            </p:cNvPr>
            <p:cNvSpPr/>
            <p:nvPr/>
          </p:nvSpPr>
          <p:spPr>
            <a:xfrm>
              <a:off x="5652447" y="4406687"/>
              <a:ext cx="216900" cy="216900"/>
            </a:xfrm>
            <a:prstGeom prst="roundRect">
              <a:avLst>
                <a:gd name="adj" fmla="val 16667"/>
              </a:avLst>
            </a:prstGeom>
            <a:solidFill>
              <a:srgbClr val="FF00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rgbClr val="F1F2F2"/>
                </a:solidFill>
                <a:effectLst/>
                <a:uLnTx/>
                <a:uFillTx/>
                <a:latin typeface="Arial"/>
                <a:ea typeface="Arial"/>
                <a:cs typeface="Arial"/>
                <a:sym typeface="Arial"/>
              </a:endParaRPr>
            </a:p>
          </p:txBody>
        </p:sp>
        <p:sp>
          <p:nvSpPr>
            <p:cNvPr id="618" name="Google Shape;1343;p104">
              <a:extLst>
                <a:ext uri="{FF2B5EF4-FFF2-40B4-BE49-F238E27FC236}">
                  <a16:creationId xmlns:a16="http://schemas.microsoft.com/office/drawing/2014/main" id="{1C111A94-85E6-27B8-D93F-31FD27D5C2CA}"/>
                </a:ext>
              </a:extLst>
            </p:cNvPr>
            <p:cNvSpPr/>
            <p:nvPr/>
          </p:nvSpPr>
          <p:spPr>
            <a:xfrm>
              <a:off x="4422629" y="4768323"/>
              <a:ext cx="216900" cy="216900"/>
            </a:xfrm>
            <a:prstGeom prst="roundRect">
              <a:avLst>
                <a:gd name="adj" fmla="val 16667"/>
              </a:avLst>
            </a:prstGeom>
            <a:solidFill>
              <a:srgbClr val="92D05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19" name="Google Shape;1344;p104">
              <a:extLst>
                <a:ext uri="{FF2B5EF4-FFF2-40B4-BE49-F238E27FC236}">
                  <a16:creationId xmlns:a16="http://schemas.microsoft.com/office/drawing/2014/main" id="{FC2964BD-4C5E-12F7-4AF4-3CC50F0F6FC5}"/>
                </a:ext>
              </a:extLst>
            </p:cNvPr>
            <p:cNvSpPr/>
            <p:nvPr/>
          </p:nvSpPr>
          <p:spPr>
            <a:xfrm>
              <a:off x="4730395" y="4768323"/>
              <a:ext cx="216900" cy="216900"/>
            </a:xfrm>
            <a:prstGeom prst="roundRect">
              <a:avLst>
                <a:gd name="adj" fmla="val 16667"/>
              </a:avLst>
            </a:prstGeom>
            <a:solidFill>
              <a:srgbClr val="92D05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20" name="Google Shape;1345;p104">
              <a:extLst>
                <a:ext uri="{FF2B5EF4-FFF2-40B4-BE49-F238E27FC236}">
                  <a16:creationId xmlns:a16="http://schemas.microsoft.com/office/drawing/2014/main" id="{B03D681E-2765-BE3D-229A-30E804CAB542}"/>
                </a:ext>
              </a:extLst>
            </p:cNvPr>
            <p:cNvSpPr/>
            <p:nvPr/>
          </p:nvSpPr>
          <p:spPr>
            <a:xfrm>
              <a:off x="5038161" y="4768323"/>
              <a:ext cx="216900" cy="216900"/>
            </a:xfrm>
            <a:prstGeom prst="roundRect">
              <a:avLst>
                <a:gd name="adj" fmla="val 16667"/>
              </a:avLst>
            </a:prstGeom>
            <a:solidFill>
              <a:srgbClr val="92D05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21" name="Google Shape;1346;p104">
              <a:extLst>
                <a:ext uri="{FF2B5EF4-FFF2-40B4-BE49-F238E27FC236}">
                  <a16:creationId xmlns:a16="http://schemas.microsoft.com/office/drawing/2014/main" id="{621A31FC-F3B1-A84B-3A4E-C6DF43AD581B}"/>
                </a:ext>
              </a:extLst>
            </p:cNvPr>
            <p:cNvSpPr/>
            <p:nvPr/>
          </p:nvSpPr>
          <p:spPr>
            <a:xfrm>
              <a:off x="5345927" y="4768323"/>
              <a:ext cx="216900" cy="216900"/>
            </a:xfrm>
            <a:prstGeom prst="roundRect">
              <a:avLst>
                <a:gd name="adj" fmla="val 16667"/>
              </a:avLst>
            </a:prstGeom>
            <a:solidFill>
              <a:srgbClr val="92D05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22" name="Google Shape;1347;p104">
              <a:extLst>
                <a:ext uri="{FF2B5EF4-FFF2-40B4-BE49-F238E27FC236}">
                  <a16:creationId xmlns:a16="http://schemas.microsoft.com/office/drawing/2014/main" id="{138227B3-0F52-316D-B45B-F6F627776C55}"/>
                </a:ext>
              </a:extLst>
            </p:cNvPr>
            <p:cNvSpPr/>
            <p:nvPr/>
          </p:nvSpPr>
          <p:spPr>
            <a:xfrm>
              <a:off x="5653693" y="4768323"/>
              <a:ext cx="2169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23" name="Google Shape;1348;p104">
              <a:extLst>
                <a:ext uri="{FF2B5EF4-FFF2-40B4-BE49-F238E27FC236}">
                  <a16:creationId xmlns:a16="http://schemas.microsoft.com/office/drawing/2014/main" id="{EB648B0A-6CBD-A9FC-9D7F-60340B8D800B}"/>
                </a:ext>
              </a:extLst>
            </p:cNvPr>
            <p:cNvSpPr/>
            <p:nvPr/>
          </p:nvSpPr>
          <p:spPr>
            <a:xfrm>
              <a:off x="4417692" y="5142881"/>
              <a:ext cx="4290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24" name="Google Shape;1349;p104">
              <a:extLst>
                <a:ext uri="{FF2B5EF4-FFF2-40B4-BE49-F238E27FC236}">
                  <a16:creationId xmlns:a16="http://schemas.microsoft.com/office/drawing/2014/main" id="{ACBA29DC-3A08-5765-191C-CF52FCEBCB6A}"/>
                </a:ext>
              </a:extLst>
            </p:cNvPr>
            <p:cNvSpPr/>
            <p:nvPr/>
          </p:nvSpPr>
          <p:spPr>
            <a:xfrm>
              <a:off x="5470853" y="5142881"/>
              <a:ext cx="3948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grpSp>
      <p:sp>
        <p:nvSpPr>
          <p:cNvPr id="629" name="TextBox 628">
            <a:extLst>
              <a:ext uri="{FF2B5EF4-FFF2-40B4-BE49-F238E27FC236}">
                <a16:creationId xmlns:a16="http://schemas.microsoft.com/office/drawing/2014/main" id="{FBD87CF8-7202-2C44-29F2-EF1109298CBC}"/>
              </a:ext>
            </a:extLst>
          </p:cNvPr>
          <p:cNvSpPr txBox="1"/>
          <p:nvPr/>
        </p:nvSpPr>
        <p:spPr>
          <a:xfrm>
            <a:off x="10993011" y="2631890"/>
            <a:ext cx="70237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a:ln>
                  <a:noFill/>
                </a:ln>
                <a:solidFill>
                  <a:srgbClr val="FF0000"/>
                </a:solidFill>
                <a:effectLst/>
                <a:uLnTx/>
                <a:uFillTx/>
                <a:latin typeface="Arial"/>
                <a:ea typeface="+mn-ea"/>
                <a:cs typeface="+mn-cs"/>
              </a:rPr>
              <a:t>FULL</a:t>
            </a:r>
            <a:endParaRPr kumimoji="0" lang="en-CA" sz="1200" b="1" i="0" u="none" strike="noStrike" kern="1200" cap="none" spc="0" normalizeH="0" baseline="0" noProof="0" dirty="0">
              <a:ln>
                <a:noFill/>
              </a:ln>
              <a:solidFill>
                <a:srgbClr val="FF0000"/>
              </a:solidFill>
              <a:effectLst/>
              <a:uLnTx/>
              <a:uFillTx/>
              <a:latin typeface="Arial"/>
              <a:ea typeface="+mn-ea"/>
              <a:cs typeface="+mn-cs"/>
            </a:endParaRPr>
          </a:p>
        </p:txBody>
      </p:sp>
      <p:sp>
        <p:nvSpPr>
          <p:cNvPr id="630" name="Oval 629">
            <a:extLst>
              <a:ext uri="{FF2B5EF4-FFF2-40B4-BE49-F238E27FC236}">
                <a16:creationId xmlns:a16="http://schemas.microsoft.com/office/drawing/2014/main" id="{C7A99FED-B8BA-0925-C087-BE8C27325841}"/>
              </a:ext>
            </a:extLst>
          </p:cNvPr>
          <p:cNvSpPr/>
          <p:nvPr/>
        </p:nvSpPr>
        <p:spPr>
          <a:xfrm>
            <a:off x="9396861" y="1256032"/>
            <a:ext cx="2548681" cy="251137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631" name="Oval 630">
            <a:extLst>
              <a:ext uri="{FF2B5EF4-FFF2-40B4-BE49-F238E27FC236}">
                <a16:creationId xmlns:a16="http://schemas.microsoft.com/office/drawing/2014/main" id="{D2C78FBF-ECD7-CFDC-49FC-685D0B4088B1}"/>
              </a:ext>
            </a:extLst>
          </p:cNvPr>
          <p:cNvSpPr/>
          <p:nvPr/>
        </p:nvSpPr>
        <p:spPr>
          <a:xfrm>
            <a:off x="4777204" y="1256032"/>
            <a:ext cx="2548681" cy="251137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1F2F2"/>
              </a:solidFill>
              <a:effectLst/>
              <a:uLnTx/>
              <a:uFillTx/>
              <a:latin typeface="Arial"/>
              <a:ea typeface="+mn-ea"/>
              <a:cs typeface="+mn-cs"/>
            </a:endParaRPr>
          </a:p>
        </p:txBody>
      </p:sp>
      <p:cxnSp>
        <p:nvCxnSpPr>
          <p:cNvPr id="633" name="Straight Connector 632">
            <a:extLst>
              <a:ext uri="{FF2B5EF4-FFF2-40B4-BE49-F238E27FC236}">
                <a16:creationId xmlns:a16="http://schemas.microsoft.com/office/drawing/2014/main" id="{B4A37CE6-99D9-2089-8148-FDB0B96B7CF2}"/>
              </a:ext>
            </a:extLst>
          </p:cNvPr>
          <p:cNvCxnSpPr>
            <a:cxnSpLocks/>
            <a:stCxn id="561" idx="1"/>
            <a:endCxn id="631" idx="4"/>
          </p:cNvCxnSpPr>
          <p:nvPr/>
        </p:nvCxnSpPr>
        <p:spPr>
          <a:xfrm flipH="1" flipV="1">
            <a:off x="6051545" y="3767402"/>
            <a:ext cx="796081" cy="64265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5" name="Straight Connector 634">
            <a:extLst>
              <a:ext uri="{FF2B5EF4-FFF2-40B4-BE49-F238E27FC236}">
                <a16:creationId xmlns:a16="http://schemas.microsoft.com/office/drawing/2014/main" id="{76FDAC58-32A2-B065-ADE5-478D8E251E98}"/>
              </a:ext>
            </a:extLst>
          </p:cNvPr>
          <p:cNvCxnSpPr>
            <a:cxnSpLocks/>
            <a:stCxn id="561" idx="3"/>
            <a:endCxn id="630" idx="4"/>
          </p:cNvCxnSpPr>
          <p:nvPr/>
        </p:nvCxnSpPr>
        <p:spPr>
          <a:xfrm flipV="1">
            <a:off x="9887159" y="3767402"/>
            <a:ext cx="784043" cy="64265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300887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734BDC7-6FED-6D61-93E0-80716BD698E8}"/>
              </a:ext>
            </a:extLst>
          </p:cNvPr>
          <p:cNvSpPr>
            <a:spLocks noGrp="1"/>
          </p:cNvSpPr>
          <p:nvPr>
            <p:ph type="title"/>
          </p:nvPr>
        </p:nvSpPr>
        <p:spPr>
          <a:xfrm>
            <a:off x="245304" y="188640"/>
            <a:ext cx="11041821" cy="843880"/>
          </a:xfrm>
        </p:spPr>
        <p:txBody>
          <a:bodyPr anchor="ctr"/>
          <a:lstStyle/>
          <a:p>
            <a:pPr algn="l"/>
            <a:r>
              <a:rPr lang="en-US" sz="2800" b="0" dirty="0">
                <a:solidFill>
                  <a:srgbClr val="000000"/>
                </a:solidFill>
                <a:latin typeface="Avenir Next LT Pro Demi" panose="020B0704020202020204" pitchFamily="34" charset="0"/>
                <a:cs typeface="Arial" panose="020B0604020202020204" pitchFamily="34" charset="0"/>
              </a:rPr>
              <a:t>Differences in Workplace Types </a:t>
            </a:r>
            <a:endParaRPr lang="en-CA" sz="2800" b="0" dirty="0">
              <a:latin typeface="Avenir Next LT Pro Demi" panose="020B0704020202020204" pitchFamily="34" charset="0"/>
            </a:endParaRPr>
          </a:p>
        </p:txBody>
      </p:sp>
      <p:sp>
        <p:nvSpPr>
          <p:cNvPr id="5" name="TextBox 4">
            <a:extLst>
              <a:ext uri="{FF2B5EF4-FFF2-40B4-BE49-F238E27FC236}">
                <a16:creationId xmlns:a16="http://schemas.microsoft.com/office/drawing/2014/main" id="{8450640E-C55C-5665-D2A3-49AF6FCFF2FC}"/>
              </a:ext>
            </a:extLst>
          </p:cNvPr>
          <p:cNvSpPr txBox="1"/>
          <p:nvPr/>
        </p:nvSpPr>
        <p:spPr>
          <a:xfrm>
            <a:off x="0" y="1032520"/>
            <a:ext cx="3707285" cy="4682480"/>
          </a:xfrm>
          <a:prstGeom prst="rect">
            <a:avLst/>
          </a:prstGeom>
          <a:solidFill>
            <a:srgbClr val="FFFFFF"/>
          </a:solidFill>
          <a:ln>
            <a:noFill/>
          </a:ln>
        </p:spPr>
        <p:txBody>
          <a:bodyPr wrap="square" lIns="360000" tIns="252000" rIns="360000" bIns="252000" rtlCol="0" anchor="ctr" anchorCtr="0">
            <a:noAutofit/>
          </a:bodyPr>
          <a:lstStyle/>
          <a:p>
            <a:pPr marL="0" marR="0" lvl="0" indent="0" algn="l" defTabSz="914400" rtl="0" eaLnBrk="1" fontAlgn="auto" latinLnBrk="0" hangingPunct="1">
              <a:lnSpc>
                <a:spcPts val="3000"/>
              </a:lnSpc>
              <a:spcBef>
                <a:spcPts val="0"/>
              </a:spcBef>
              <a:spcAft>
                <a:spcPts val="0"/>
              </a:spcAft>
              <a:buClrTx/>
              <a:buSzTx/>
              <a:buFontTx/>
              <a:buNone/>
              <a:tabLst/>
              <a:defRPr/>
            </a:pPr>
            <a:r>
              <a:rPr kumimoji="0" lang="en-CA" sz="18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rPr>
              <a:t>Depending on the type of workplace as well as its intended utilization, different booking strategies should be considered. </a:t>
            </a:r>
          </a:p>
        </p:txBody>
      </p:sp>
      <p:sp>
        <p:nvSpPr>
          <p:cNvPr id="6" name="Rectangle 5">
            <a:extLst>
              <a:ext uri="{FF2B5EF4-FFF2-40B4-BE49-F238E27FC236}">
                <a16:creationId xmlns:a16="http://schemas.microsoft.com/office/drawing/2014/main" id="{4BA3FBF8-77A8-C828-5034-32848704A02A}"/>
              </a:ext>
            </a:extLst>
          </p:cNvPr>
          <p:cNvSpPr/>
          <p:nvPr/>
        </p:nvSpPr>
        <p:spPr>
          <a:xfrm>
            <a:off x="3886201" y="1032519"/>
            <a:ext cx="8305800" cy="468247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srgbClr val="F1F2F2"/>
              </a:solidFill>
              <a:effectLst/>
              <a:uLnTx/>
              <a:uFillTx/>
              <a:latin typeface="Arial"/>
              <a:ea typeface="+mn-ea"/>
              <a:cs typeface="+mn-cs"/>
            </a:endParaRPr>
          </a:p>
        </p:txBody>
      </p:sp>
      <p:graphicFrame>
        <p:nvGraphicFramePr>
          <p:cNvPr id="2" name="Chart 1">
            <a:extLst>
              <a:ext uri="{FF2B5EF4-FFF2-40B4-BE49-F238E27FC236}">
                <a16:creationId xmlns:a16="http://schemas.microsoft.com/office/drawing/2014/main" id="{0E5B628E-FFFA-DA52-BF84-A8CCEDA22136}"/>
              </a:ext>
            </a:extLst>
          </p:cNvPr>
          <p:cNvGraphicFramePr/>
          <p:nvPr/>
        </p:nvGraphicFramePr>
        <p:xfrm>
          <a:off x="3501896" y="1912741"/>
          <a:ext cx="3846286" cy="2863910"/>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77F088CD-1502-7252-E959-9132A3DE0C6D}"/>
              </a:ext>
            </a:extLst>
          </p:cNvPr>
          <p:cNvSpPr txBox="1"/>
          <p:nvPr/>
        </p:nvSpPr>
        <p:spPr>
          <a:xfrm>
            <a:off x="8275861" y="2771663"/>
            <a:ext cx="321346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0070C0"/>
                </a:solidFill>
                <a:effectLst/>
                <a:uLnTx/>
                <a:uFillTx/>
                <a:latin typeface="Arial"/>
                <a:ea typeface="+mn-ea"/>
                <a:cs typeface="+mn-cs"/>
              </a:rPr>
              <a:t>Workplace 2.0</a:t>
            </a:r>
            <a:endParaRPr kumimoji="0" lang="en-CA" sz="1600" b="1" i="0" u="none" strike="noStrike" kern="1200" cap="none" spc="0" normalizeH="0" baseline="0" noProof="0" dirty="0">
              <a:ln>
                <a:noFill/>
              </a:ln>
              <a:solidFill>
                <a:srgbClr val="0070C0"/>
              </a:solidFill>
              <a:effectLst/>
              <a:uLnTx/>
              <a:uFillTx/>
              <a:latin typeface="Arial"/>
              <a:ea typeface="+mn-ea"/>
              <a:cs typeface="+mn-cs"/>
            </a:endParaRPr>
          </a:p>
        </p:txBody>
      </p:sp>
      <p:pic>
        <p:nvPicPr>
          <p:cNvPr id="7" name="Picture 6">
            <a:extLst>
              <a:ext uri="{FF2B5EF4-FFF2-40B4-BE49-F238E27FC236}">
                <a16:creationId xmlns:a16="http://schemas.microsoft.com/office/drawing/2014/main" id="{7AFC1A4B-7C6B-C78F-D409-706347B65E69}"/>
              </a:ext>
            </a:extLst>
          </p:cNvPr>
          <p:cNvPicPr>
            <a:picLocks noChangeAspect="1"/>
          </p:cNvPicPr>
          <p:nvPr/>
        </p:nvPicPr>
        <p:blipFill>
          <a:blip r:embed="rId3"/>
          <a:stretch>
            <a:fillRect/>
          </a:stretch>
        </p:blipFill>
        <p:spPr>
          <a:xfrm>
            <a:off x="8266171" y="1158235"/>
            <a:ext cx="1568531" cy="438173"/>
          </a:xfrm>
          <a:prstGeom prst="rect">
            <a:avLst/>
          </a:prstGeom>
        </p:spPr>
      </p:pic>
      <p:sp>
        <p:nvSpPr>
          <p:cNvPr id="8" name="TextBox 7">
            <a:extLst>
              <a:ext uri="{FF2B5EF4-FFF2-40B4-BE49-F238E27FC236}">
                <a16:creationId xmlns:a16="http://schemas.microsoft.com/office/drawing/2014/main" id="{6919B2BB-7985-3F56-71D8-C74DBD6B75DE}"/>
              </a:ext>
            </a:extLst>
          </p:cNvPr>
          <p:cNvSpPr txBox="1"/>
          <p:nvPr/>
        </p:nvSpPr>
        <p:spPr>
          <a:xfrm>
            <a:off x="7849142" y="4266447"/>
            <a:ext cx="321346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err="1">
                <a:ln>
                  <a:noFill/>
                </a:ln>
                <a:solidFill>
                  <a:srgbClr val="6C6E71"/>
                </a:solidFill>
                <a:effectLst/>
                <a:uLnTx/>
                <a:uFillTx/>
                <a:latin typeface="Arial"/>
                <a:ea typeface="+mn-ea"/>
                <a:cs typeface="+mn-cs"/>
              </a:rPr>
              <a:t>Traditional</a:t>
            </a:r>
            <a:r>
              <a:rPr kumimoji="0" lang="fr-CA" sz="1600" b="1" i="0" u="none" strike="noStrike" kern="1200" cap="none" spc="0" normalizeH="0" baseline="0" noProof="0" dirty="0">
                <a:ln>
                  <a:noFill/>
                </a:ln>
                <a:solidFill>
                  <a:srgbClr val="6C6E71"/>
                </a:solidFill>
                <a:effectLst/>
                <a:uLnTx/>
                <a:uFillTx/>
                <a:latin typeface="Arial"/>
                <a:ea typeface="+mn-ea"/>
                <a:cs typeface="+mn-cs"/>
              </a:rPr>
              <a:t> </a:t>
            </a:r>
            <a:r>
              <a:rPr kumimoji="0" lang="fr-CA" sz="1600" b="1" i="0" u="none" strike="noStrike" kern="1200" cap="none" spc="0" normalizeH="0" baseline="0" noProof="0" dirty="0" err="1">
                <a:ln>
                  <a:noFill/>
                </a:ln>
                <a:solidFill>
                  <a:srgbClr val="6C6E71"/>
                </a:solidFill>
                <a:effectLst/>
                <a:uLnTx/>
                <a:uFillTx/>
                <a:latin typeface="Arial"/>
                <a:ea typeface="+mn-ea"/>
                <a:cs typeface="+mn-cs"/>
              </a:rPr>
              <a:t>Workplaces</a:t>
            </a:r>
            <a:r>
              <a:rPr kumimoji="0" lang="fr-CA" sz="1600" b="1" i="0" u="none" strike="noStrike" kern="1200" cap="none" spc="0" normalizeH="0" baseline="0" noProof="0" dirty="0">
                <a:ln>
                  <a:noFill/>
                </a:ln>
                <a:solidFill>
                  <a:srgbClr val="6C6E71"/>
                </a:solidFill>
                <a:effectLst/>
                <a:uLnTx/>
                <a:uFillTx/>
                <a:latin typeface="Arial"/>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600" b="1" i="0" u="none" strike="noStrike" kern="1200" cap="none" spc="0" normalizeH="0" baseline="0" noProof="0" dirty="0">
              <a:ln>
                <a:noFill/>
              </a:ln>
              <a:solidFill>
                <a:srgbClr val="6C6E71"/>
              </a:solidFill>
              <a:effectLst/>
              <a:uLnTx/>
              <a:uFillTx/>
              <a:latin typeface="Arial"/>
              <a:ea typeface="+mn-ea"/>
              <a:cs typeface="+mn-cs"/>
            </a:endParaRPr>
          </a:p>
        </p:txBody>
      </p:sp>
      <p:sp>
        <p:nvSpPr>
          <p:cNvPr id="9" name="Rectangle 8">
            <a:extLst>
              <a:ext uri="{FF2B5EF4-FFF2-40B4-BE49-F238E27FC236}">
                <a16:creationId xmlns:a16="http://schemas.microsoft.com/office/drawing/2014/main" id="{C6E0ABE7-E86B-E0ED-04C5-8EEC64FC870A}"/>
              </a:ext>
            </a:extLst>
          </p:cNvPr>
          <p:cNvSpPr/>
          <p:nvPr/>
        </p:nvSpPr>
        <p:spPr>
          <a:xfrm>
            <a:off x="7128837" y="1586885"/>
            <a:ext cx="3843198" cy="957393"/>
          </a:xfrm>
          <a:prstGeom prst="rect">
            <a:avLst/>
          </a:prstGeom>
          <a:noFill/>
          <a:ln w="12700">
            <a:solidFill>
              <a:srgbClr val="C3D941"/>
            </a:solid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Lots of </a:t>
            </a:r>
            <a:r>
              <a:rPr kumimoji="0" lang="fr-CA" sz="1400" b="0" i="0" u="none" strike="noStrike" kern="1200" cap="none" spc="0" normalizeH="0" baseline="0" noProof="0" dirty="0" err="1">
                <a:ln>
                  <a:noFill/>
                </a:ln>
                <a:solidFill>
                  <a:srgbClr val="000000"/>
                </a:solidFill>
                <a:effectLst/>
                <a:uLnTx/>
                <a:uFillTx/>
                <a:latin typeface="Arial"/>
                <a:ea typeface="+mn-ea"/>
                <a:cs typeface="+mn-cs"/>
              </a:rPr>
              <a:t>variety</a:t>
            </a:r>
            <a:r>
              <a:rPr kumimoji="0" lang="fr-CA" sz="1400" b="0" i="0" u="none" strike="noStrike" kern="1200" cap="none" spc="0" normalizeH="0" baseline="0" noProof="0" dirty="0">
                <a:ln>
                  <a:noFill/>
                </a:ln>
                <a:solidFill>
                  <a:srgbClr val="000000"/>
                </a:solidFill>
                <a:effectLst/>
                <a:uLnTx/>
                <a:uFillTx/>
                <a:latin typeface="Arial"/>
                <a:ea typeface="+mn-ea"/>
                <a:cs typeface="+mn-cs"/>
              </a:rPr>
              <a:t> in workpoint type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fr-CA" sz="1400" b="0" i="0" u="none" strike="noStrike" kern="1200" cap="none" spc="0" normalizeH="0" baseline="0" noProof="0" dirty="0" err="1">
                <a:ln>
                  <a:noFill/>
                </a:ln>
                <a:solidFill>
                  <a:srgbClr val="000000"/>
                </a:solidFill>
                <a:effectLst/>
                <a:uLnTx/>
                <a:uFillTx/>
                <a:latin typeface="Arial"/>
                <a:ea typeface="+mn-ea"/>
                <a:cs typeface="+mn-cs"/>
              </a:rPr>
              <a:t>Centralized</a:t>
            </a:r>
            <a:r>
              <a:rPr kumimoji="0" lang="fr-CA" sz="1400" b="0" i="0" u="none" strike="noStrike" kern="1200" cap="none" spc="0" normalizeH="0" baseline="0" noProof="0" dirty="0">
                <a:ln>
                  <a:noFill/>
                </a:ln>
                <a:solidFill>
                  <a:srgbClr val="000000"/>
                </a:solidFill>
                <a:effectLst/>
                <a:uLnTx/>
                <a:uFillTx/>
                <a:latin typeface="Arial"/>
                <a:ea typeface="+mn-ea"/>
                <a:cs typeface="+mn-cs"/>
              </a:rPr>
              <a:t> </a:t>
            </a:r>
            <a:r>
              <a:rPr kumimoji="0" lang="fr-CA" sz="1400" b="0" i="0" u="none" strike="noStrike" kern="1200" cap="none" spc="0" normalizeH="0" baseline="0" noProof="0" dirty="0" err="1">
                <a:ln>
                  <a:noFill/>
                </a:ln>
                <a:solidFill>
                  <a:srgbClr val="000000"/>
                </a:solidFill>
                <a:effectLst/>
                <a:uLnTx/>
                <a:uFillTx/>
                <a:latin typeface="Arial"/>
                <a:ea typeface="+mn-ea"/>
                <a:cs typeface="+mn-cs"/>
              </a:rPr>
              <a:t>personal</a:t>
            </a:r>
            <a:r>
              <a:rPr kumimoji="0" lang="fr-CA" sz="1400" b="0" i="0" u="none" strike="noStrike" kern="1200" cap="none" spc="0" normalizeH="0" baseline="0" noProof="0" dirty="0">
                <a:ln>
                  <a:noFill/>
                </a:ln>
                <a:solidFill>
                  <a:srgbClr val="000000"/>
                </a:solidFill>
                <a:effectLst/>
                <a:uLnTx/>
                <a:uFillTx/>
                <a:latin typeface="Arial"/>
                <a:ea typeface="+mn-ea"/>
                <a:cs typeface="+mn-cs"/>
              </a:rPr>
              <a:t> </a:t>
            </a:r>
            <a:r>
              <a:rPr kumimoji="0" lang="fr-CA" sz="1400" b="0" i="0" u="none" strike="noStrike" kern="1200" cap="none" spc="0" normalizeH="0" baseline="0" noProof="0" dirty="0" err="1">
                <a:ln>
                  <a:noFill/>
                </a:ln>
                <a:solidFill>
                  <a:srgbClr val="000000"/>
                </a:solidFill>
                <a:effectLst/>
                <a:uLnTx/>
                <a:uFillTx/>
                <a:latin typeface="Arial"/>
                <a:ea typeface="+mn-ea"/>
                <a:cs typeface="+mn-cs"/>
              </a:rPr>
              <a:t>storage</a:t>
            </a:r>
            <a:endParaRPr kumimoji="0" lang="fr-CA" sz="1400" b="0" i="0"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CA" sz="1400" b="0" i="0" u="none" strike="noStrike" kern="1200" cap="none" spc="0" normalizeH="0" baseline="0" noProof="0" dirty="0">
                <a:ln>
                  <a:noFill/>
                </a:ln>
                <a:solidFill>
                  <a:srgbClr val="000000"/>
                </a:solidFill>
                <a:effectLst/>
                <a:uLnTx/>
                <a:uFillTx/>
                <a:latin typeface="Arial"/>
                <a:ea typeface="+mn-ea"/>
                <a:cs typeface="+mn-cs"/>
              </a:rPr>
              <a:t>Purposely designed to be </a:t>
            </a:r>
            <a:r>
              <a:rPr kumimoji="0" lang="en-CA" sz="1400" b="0" i="0" u="none" strike="noStrike" kern="1200" cap="none" spc="0" normalizeH="0" baseline="0" noProof="0" dirty="0" err="1">
                <a:ln>
                  <a:noFill/>
                </a:ln>
                <a:solidFill>
                  <a:srgbClr val="000000"/>
                </a:solidFill>
                <a:effectLst/>
                <a:uLnTx/>
                <a:uFillTx/>
                <a:latin typeface="Arial"/>
                <a:ea typeface="+mn-ea"/>
                <a:cs typeface="+mn-cs"/>
              </a:rPr>
              <a:t>unassinged</a:t>
            </a:r>
            <a:endParaRPr kumimoji="0" lang="en-CA"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0" name="Rectangle 9">
            <a:extLst>
              <a:ext uri="{FF2B5EF4-FFF2-40B4-BE49-F238E27FC236}">
                <a16:creationId xmlns:a16="http://schemas.microsoft.com/office/drawing/2014/main" id="{4CDD0FAA-179F-DAB8-E6A8-1B724634D0AD}"/>
              </a:ext>
            </a:extLst>
          </p:cNvPr>
          <p:cNvSpPr/>
          <p:nvPr/>
        </p:nvSpPr>
        <p:spPr>
          <a:xfrm>
            <a:off x="7128837" y="3070376"/>
            <a:ext cx="3843198" cy="957393"/>
          </a:xfrm>
          <a:prstGeom prst="rect">
            <a:avLst/>
          </a:prstGeom>
          <a:noFill/>
          <a:ln w="127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More open w/</a:t>
            </a:r>
            <a:r>
              <a:rPr kumimoji="0" lang="fr-CA" sz="1400" b="0" i="0" u="none" strike="noStrike" kern="1200" cap="none" spc="0" normalizeH="0" baseline="0" noProof="0" dirty="0" err="1">
                <a:ln>
                  <a:noFill/>
                </a:ln>
                <a:solidFill>
                  <a:srgbClr val="000000"/>
                </a:solidFill>
                <a:effectLst/>
                <a:uLnTx/>
                <a:uFillTx/>
                <a:latin typeface="Arial"/>
                <a:ea typeface="+mn-ea"/>
                <a:cs typeface="+mn-cs"/>
              </a:rPr>
              <a:t>lower</a:t>
            </a:r>
            <a:r>
              <a:rPr kumimoji="0" lang="fr-CA" sz="1400" b="0" i="0" u="none" strike="noStrike" kern="1200" cap="none" spc="0" normalizeH="0" baseline="0" noProof="0" dirty="0">
                <a:ln>
                  <a:noFill/>
                </a:ln>
                <a:solidFill>
                  <a:srgbClr val="000000"/>
                </a:solidFill>
                <a:effectLst/>
                <a:uLnTx/>
                <a:uFillTx/>
                <a:latin typeface="Arial"/>
                <a:ea typeface="+mn-ea"/>
                <a:cs typeface="+mn-cs"/>
              </a:rPr>
              <a:t> </a:t>
            </a:r>
            <a:r>
              <a:rPr kumimoji="0" lang="fr-CA" sz="1400" b="0" i="0" u="none" strike="noStrike" kern="1200" cap="none" spc="0" normalizeH="0" baseline="0" noProof="0" dirty="0" err="1">
                <a:ln>
                  <a:noFill/>
                </a:ln>
                <a:solidFill>
                  <a:srgbClr val="000000"/>
                </a:solidFill>
                <a:effectLst/>
                <a:uLnTx/>
                <a:uFillTx/>
                <a:latin typeface="Arial"/>
                <a:ea typeface="+mn-ea"/>
                <a:cs typeface="+mn-cs"/>
              </a:rPr>
              <a:t>workstation</a:t>
            </a:r>
            <a:r>
              <a:rPr kumimoji="0" lang="fr-CA" sz="1400" b="0" i="0" u="none" strike="noStrike" kern="1200" cap="none" spc="0" normalizeH="0" baseline="0" noProof="0" dirty="0">
                <a:ln>
                  <a:noFill/>
                </a:ln>
                <a:solidFill>
                  <a:srgbClr val="000000"/>
                </a:solidFill>
                <a:effectLst/>
                <a:uLnTx/>
                <a:uFillTx/>
                <a:latin typeface="Arial"/>
                <a:ea typeface="+mn-ea"/>
                <a:cs typeface="+mn-cs"/>
              </a:rPr>
              <a:t> panel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A few quiet </a:t>
            </a:r>
            <a:r>
              <a:rPr kumimoji="0" lang="fr-CA" sz="1400" b="0" i="0" u="none" strike="noStrike" kern="1200" cap="none" spc="0" normalizeH="0" baseline="0" noProof="0" dirty="0" err="1">
                <a:ln>
                  <a:noFill/>
                </a:ln>
                <a:solidFill>
                  <a:srgbClr val="000000"/>
                </a:solidFill>
                <a:effectLst/>
                <a:uLnTx/>
                <a:uFillTx/>
                <a:latin typeface="Arial"/>
                <a:ea typeface="+mn-ea"/>
                <a:cs typeface="+mn-cs"/>
              </a:rPr>
              <a:t>rooms</a:t>
            </a:r>
            <a:r>
              <a:rPr kumimoji="0" lang="fr-CA" sz="1400" b="0" i="0" u="none" strike="noStrike" kern="1200" cap="none" spc="0" normalizeH="0" baseline="0" noProof="0" dirty="0">
                <a:ln>
                  <a:noFill/>
                </a:ln>
                <a:solidFill>
                  <a:srgbClr val="000000"/>
                </a:solidFill>
                <a:effectLst/>
                <a:uLnTx/>
                <a:uFillTx/>
                <a:latin typeface="Arial"/>
                <a:ea typeface="+mn-ea"/>
                <a:cs typeface="+mn-cs"/>
              </a:rPr>
              <a:t> &amp; open collab area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CA" sz="1400" b="0" i="0" u="none" strike="noStrike" kern="1200" cap="none" spc="0" normalizeH="0" baseline="0" noProof="0" dirty="0">
                <a:ln>
                  <a:noFill/>
                </a:ln>
                <a:solidFill>
                  <a:srgbClr val="000000"/>
                </a:solidFill>
                <a:effectLst/>
                <a:uLnTx/>
                <a:uFillTx/>
                <a:latin typeface="Arial"/>
                <a:ea typeface="+mn-ea"/>
                <a:cs typeface="+mn-cs"/>
              </a:rPr>
              <a:t>Personal storage is within workstations</a:t>
            </a:r>
          </a:p>
        </p:txBody>
      </p:sp>
      <p:sp>
        <p:nvSpPr>
          <p:cNvPr id="11" name="Rectangle 10">
            <a:extLst>
              <a:ext uri="{FF2B5EF4-FFF2-40B4-BE49-F238E27FC236}">
                <a16:creationId xmlns:a16="http://schemas.microsoft.com/office/drawing/2014/main" id="{827B59E4-B0AE-55C9-B564-41192761F062}"/>
              </a:ext>
            </a:extLst>
          </p:cNvPr>
          <p:cNvSpPr/>
          <p:nvPr/>
        </p:nvSpPr>
        <p:spPr>
          <a:xfrm>
            <a:off x="7128837" y="4568888"/>
            <a:ext cx="3843198" cy="957393"/>
          </a:xfrm>
          <a:prstGeom prst="rect">
            <a:avLst/>
          </a:prstGeom>
          <a:noFill/>
          <a:ln w="12700">
            <a:solidFill>
              <a:srgbClr val="B2B8B8"/>
            </a:solid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High </a:t>
            </a:r>
            <a:r>
              <a:rPr kumimoji="0" lang="fr-CA" sz="1400" b="0" i="0" u="none" strike="noStrike" kern="1200" cap="none" spc="0" normalizeH="0" baseline="0" noProof="0" dirty="0" err="1">
                <a:ln>
                  <a:noFill/>
                </a:ln>
                <a:solidFill>
                  <a:srgbClr val="000000"/>
                </a:solidFill>
                <a:effectLst/>
                <a:uLnTx/>
                <a:uFillTx/>
                <a:latin typeface="Arial"/>
                <a:ea typeface="+mn-ea"/>
                <a:cs typeface="+mn-cs"/>
              </a:rPr>
              <a:t>workstation</a:t>
            </a:r>
            <a:r>
              <a:rPr kumimoji="0" lang="fr-CA" sz="1400" b="0" i="0" u="none" strike="noStrike" kern="1200" cap="none" spc="0" normalizeH="0" baseline="0" noProof="0" dirty="0">
                <a:ln>
                  <a:noFill/>
                </a:ln>
                <a:solidFill>
                  <a:srgbClr val="000000"/>
                </a:solidFill>
                <a:effectLst/>
                <a:uLnTx/>
                <a:uFillTx/>
                <a:latin typeface="Arial"/>
                <a:ea typeface="+mn-ea"/>
                <a:cs typeface="+mn-cs"/>
              </a:rPr>
              <a:t> panels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Little </a:t>
            </a:r>
            <a:r>
              <a:rPr kumimoji="0" lang="fr-CA" sz="1400" b="0" i="0" u="none" strike="noStrike" kern="1200" cap="none" spc="0" normalizeH="0" baseline="0" noProof="0" dirty="0" err="1">
                <a:ln>
                  <a:noFill/>
                </a:ln>
                <a:solidFill>
                  <a:srgbClr val="000000"/>
                </a:solidFill>
                <a:effectLst/>
                <a:uLnTx/>
                <a:uFillTx/>
                <a:latin typeface="Arial"/>
                <a:ea typeface="+mn-ea"/>
                <a:cs typeface="+mn-cs"/>
              </a:rPr>
              <a:t>variety</a:t>
            </a:r>
            <a:r>
              <a:rPr kumimoji="0" lang="fr-CA" sz="1400" b="0" i="0" u="none" strike="noStrike" kern="1200" cap="none" spc="0" normalizeH="0" baseline="0" noProof="0" dirty="0">
                <a:ln>
                  <a:noFill/>
                </a:ln>
                <a:solidFill>
                  <a:srgbClr val="000000"/>
                </a:solidFill>
                <a:effectLst/>
                <a:uLnTx/>
                <a:uFillTx/>
                <a:latin typeface="Arial"/>
                <a:ea typeface="+mn-ea"/>
                <a:cs typeface="+mn-cs"/>
              </a:rPr>
              <a:t> in workpoint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fr-CA" sz="1400" b="0" i="0" u="none" strike="noStrike" kern="1200" cap="none" spc="0" normalizeH="0" baseline="0" noProof="0" dirty="0" err="1">
                <a:ln>
                  <a:noFill/>
                </a:ln>
                <a:solidFill>
                  <a:srgbClr val="000000"/>
                </a:solidFill>
                <a:effectLst/>
                <a:uLnTx/>
                <a:uFillTx/>
                <a:latin typeface="Arial"/>
                <a:ea typeface="+mn-ea"/>
                <a:cs typeface="+mn-cs"/>
              </a:rPr>
              <a:t>Personal</a:t>
            </a:r>
            <a:r>
              <a:rPr kumimoji="0" lang="fr-CA" sz="1400" b="0" i="0" u="none" strike="noStrike" kern="1200" cap="none" spc="0" normalizeH="0" baseline="0" noProof="0" dirty="0">
                <a:ln>
                  <a:noFill/>
                </a:ln>
                <a:solidFill>
                  <a:srgbClr val="000000"/>
                </a:solidFill>
                <a:effectLst/>
                <a:uLnTx/>
                <a:uFillTx/>
                <a:latin typeface="Arial"/>
                <a:ea typeface="+mn-ea"/>
                <a:cs typeface="+mn-cs"/>
              </a:rPr>
              <a:t> </a:t>
            </a:r>
            <a:r>
              <a:rPr kumimoji="0" lang="fr-CA" sz="1400" b="0" i="0" u="none" strike="noStrike" kern="1200" cap="none" spc="0" normalizeH="0" baseline="0" noProof="0" dirty="0" err="1">
                <a:ln>
                  <a:noFill/>
                </a:ln>
                <a:solidFill>
                  <a:srgbClr val="000000"/>
                </a:solidFill>
                <a:effectLst/>
                <a:uLnTx/>
                <a:uFillTx/>
                <a:latin typeface="Arial"/>
                <a:ea typeface="+mn-ea"/>
                <a:cs typeface="+mn-cs"/>
              </a:rPr>
              <a:t>storage</a:t>
            </a:r>
            <a:r>
              <a:rPr kumimoji="0" lang="fr-CA" sz="1400" b="0" i="0" u="none" strike="noStrike" kern="1200" cap="none" spc="0" normalizeH="0" baseline="0" noProof="0" dirty="0">
                <a:ln>
                  <a:noFill/>
                </a:ln>
                <a:solidFill>
                  <a:srgbClr val="000000"/>
                </a:solidFill>
                <a:effectLst/>
                <a:uLnTx/>
                <a:uFillTx/>
                <a:latin typeface="Arial"/>
                <a:ea typeface="+mn-ea"/>
                <a:cs typeface="+mn-cs"/>
              </a:rPr>
              <a:t> </a:t>
            </a:r>
            <a:r>
              <a:rPr kumimoji="0" lang="fr-CA" sz="1400" b="0" i="0" u="none" strike="noStrike" kern="1200" cap="none" spc="0" normalizeH="0" baseline="0" noProof="0" dirty="0" err="1">
                <a:ln>
                  <a:noFill/>
                </a:ln>
                <a:solidFill>
                  <a:srgbClr val="000000"/>
                </a:solidFill>
                <a:effectLst/>
                <a:uLnTx/>
                <a:uFillTx/>
                <a:latin typeface="Arial"/>
                <a:ea typeface="+mn-ea"/>
                <a:cs typeface="+mn-cs"/>
              </a:rPr>
              <a:t>is</a:t>
            </a:r>
            <a:r>
              <a:rPr kumimoji="0" lang="fr-CA" sz="1400" b="0" i="0" u="none" strike="noStrike" kern="1200" cap="none" spc="0" normalizeH="0" baseline="0" noProof="0" dirty="0">
                <a:ln>
                  <a:noFill/>
                </a:ln>
                <a:solidFill>
                  <a:srgbClr val="000000"/>
                </a:solidFill>
                <a:effectLst/>
                <a:uLnTx/>
                <a:uFillTx/>
                <a:latin typeface="Arial"/>
                <a:ea typeface="+mn-ea"/>
                <a:cs typeface="+mn-cs"/>
              </a:rPr>
              <a:t> </a:t>
            </a:r>
            <a:r>
              <a:rPr kumimoji="0" lang="fr-CA" sz="1400" b="0" i="0" u="none" strike="noStrike" kern="1200" cap="none" spc="0" normalizeH="0" baseline="0" noProof="0" dirty="0" err="1">
                <a:ln>
                  <a:noFill/>
                </a:ln>
                <a:solidFill>
                  <a:srgbClr val="000000"/>
                </a:solidFill>
                <a:effectLst/>
                <a:uLnTx/>
                <a:uFillTx/>
                <a:latin typeface="Arial"/>
                <a:ea typeface="+mn-ea"/>
                <a:cs typeface="+mn-cs"/>
              </a:rPr>
              <a:t>within</a:t>
            </a:r>
            <a:r>
              <a:rPr kumimoji="0" lang="fr-CA" sz="1400" b="0" i="0" u="none" strike="noStrike" kern="1200" cap="none" spc="0" normalizeH="0" baseline="0" noProof="0" dirty="0">
                <a:ln>
                  <a:noFill/>
                </a:ln>
                <a:solidFill>
                  <a:srgbClr val="000000"/>
                </a:solidFill>
                <a:effectLst/>
                <a:uLnTx/>
                <a:uFillTx/>
                <a:latin typeface="Arial"/>
                <a:ea typeface="+mn-ea"/>
                <a:cs typeface="+mn-cs"/>
              </a:rPr>
              <a:t> </a:t>
            </a:r>
            <a:r>
              <a:rPr kumimoji="0" lang="fr-CA" sz="1400" b="0" i="0" u="none" strike="noStrike" kern="1200" cap="none" spc="0" normalizeH="0" baseline="0" noProof="0" dirty="0" err="1">
                <a:ln>
                  <a:noFill/>
                </a:ln>
                <a:solidFill>
                  <a:srgbClr val="000000"/>
                </a:solidFill>
                <a:effectLst/>
                <a:uLnTx/>
                <a:uFillTx/>
                <a:latin typeface="Arial"/>
                <a:ea typeface="+mn-ea"/>
                <a:cs typeface="+mn-cs"/>
              </a:rPr>
              <a:t>workstations</a:t>
            </a:r>
            <a:endParaRPr kumimoji="0" lang="fr-CA" sz="14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20" name="Straight Connector 19">
            <a:extLst>
              <a:ext uri="{FF2B5EF4-FFF2-40B4-BE49-F238E27FC236}">
                <a16:creationId xmlns:a16="http://schemas.microsoft.com/office/drawing/2014/main" id="{42B22CCC-B0F8-4F86-5E51-410BEB6F245A}"/>
              </a:ext>
            </a:extLst>
          </p:cNvPr>
          <p:cNvCxnSpPr>
            <a:cxnSpLocks/>
            <a:endCxn id="11" idx="1"/>
          </p:cNvCxnSpPr>
          <p:nvPr/>
        </p:nvCxnSpPr>
        <p:spPr>
          <a:xfrm>
            <a:off x="5677989" y="3788421"/>
            <a:ext cx="1450848" cy="1259164"/>
          </a:xfrm>
          <a:prstGeom prst="line">
            <a:avLst/>
          </a:prstGeom>
          <a:ln>
            <a:solidFill>
              <a:srgbClr val="B2B8B8"/>
            </a:solidFill>
          </a:ln>
        </p:spPr>
        <p:style>
          <a:lnRef idx="1">
            <a:schemeClr val="accent1"/>
          </a:lnRef>
          <a:fillRef idx="0">
            <a:schemeClr val="accent1"/>
          </a:fillRef>
          <a:effectRef idx="0">
            <a:schemeClr val="accent1"/>
          </a:effectRef>
          <a:fontRef idx="minor">
            <a:schemeClr val="tx1"/>
          </a:fontRef>
        </p:style>
      </p:cxnSp>
      <p:graphicFrame>
        <p:nvGraphicFramePr>
          <p:cNvPr id="23" name="Chart 22">
            <a:extLst>
              <a:ext uri="{FF2B5EF4-FFF2-40B4-BE49-F238E27FC236}">
                <a16:creationId xmlns:a16="http://schemas.microsoft.com/office/drawing/2014/main" id="{9CC73287-A8F4-E9EF-5E23-38FECB69EC84}"/>
              </a:ext>
            </a:extLst>
          </p:cNvPr>
          <p:cNvGraphicFramePr/>
          <p:nvPr/>
        </p:nvGraphicFramePr>
        <p:xfrm>
          <a:off x="3577676" y="1941805"/>
          <a:ext cx="3846286" cy="2863910"/>
        </p:xfrm>
        <a:graphic>
          <a:graphicData uri="http://schemas.openxmlformats.org/drawingml/2006/chart">
            <c:chart xmlns:c="http://schemas.openxmlformats.org/drawingml/2006/chart" xmlns:r="http://schemas.openxmlformats.org/officeDocument/2006/relationships" r:id="rId4"/>
          </a:graphicData>
        </a:graphic>
      </p:graphicFrame>
      <p:cxnSp>
        <p:nvCxnSpPr>
          <p:cNvPr id="16" name="Straight Connector 15">
            <a:extLst>
              <a:ext uri="{FF2B5EF4-FFF2-40B4-BE49-F238E27FC236}">
                <a16:creationId xmlns:a16="http://schemas.microsoft.com/office/drawing/2014/main" id="{B8F92400-CC2E-960A-EF5C-0B4C4F0FF46B}"/>
              </a:ext>
            </a:extLst>
          </p:cNvPr>
          <p:cNvCxnSpPr>
            <a:cxnSpLocks/>
            <a:endCxn id="10" idx="1"/>
          </p:cNvCxnSpPr>
          <p:nvPr/>
        </p:nvCxnSpPr>
        <p:spPr>
          <a:xfrm>
            <a:off x="5590903" y="2529257"/>
            <a:ext cx="1537934" cy="1019816"/>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D5F68FF-CBEC-67B8-10F8-32DD2BC92A66}"/>
              </a:ext>
            </a:extLst>
          </p:cNvPr>
          <p:cNvCxnSpPr>
            <a:cxnSpLocks/>
            <a:endCxn id="9" idx="1"/>
          </p:cNvCxnSpPr>
          <p:nvPr/>
        </p:nvCxnSpPr>
        <p:spPr>
          <a:xfrm flipV="1">
            <a:off x="5425039" y="2065582"/>
            <a:ext cx="1703798" cy="224327"/>
          </a:xfrm>
          <a:prstGeom prst="line">
            <a:avLst/>
          </a:prstGeom>
          <a:ln>
            <a:solidFill>
              <a:srgbClr val="C3D94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79035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734BDC7-6FED-6D61-93E0-80716BD698E8}"/>
              </a:ext>
            </a:extLst>
          </p:cNvPr>
          <p:cNvSpPr>
            <a:spLocks noGrp="1"/>
          </p:cNvSpPr>
          <p:nvPr>
            <p:ph type="title"/>
          </p:nvPr>
        </p:nvSpPr>
        <p:spPr>
          <a:xfrm>
            <a:off x="245304" y="188640"/>
            <a:ext cx="11041821" cy="843880"/>
          </a:xfrm>
        </p:spPr>
        <p:txBody>
          <a:bodyPr anchor="ctr"/>
          <a:lstStyle/>
          <a:p>
            <a:pPr algn="l"/>
            <a:r>
              <a:rPr lang="en-US" sz="2800" b="0" dirty="0">
                <a:solidFill>
                  <a:srgbClr val="000000"/>
                </a:solidFill>
                <a:latin typeface="Avenir Next LT Pro Demi" panose="020B0704020202020204" pitchFamily="34" charset="0"/>
                <a:cs typeface="Arial" panose="020B0604020202020204" pitchFamily="34" charset="0"/>
              </a:rPr>
              <a:t>GCworkplace &amp; Activity Based Working</a:t>
            </a:r>
            <a:endParaRPr lang="en-CA" sz="2800" b="0" dirty="0">
              <a:latin typeface="Avenir Next LT Pro Demi" panose="020B0704020202020204" pitchFamily="34" charset="0"/>
            </a:endParaRPr>
          </a:p>
        </p:txBody>
      </p:sp>
      <p:sp>
        <p:nvSpPr>
          <p:cNvPr id="5" name="TextBox 4">
            <a:extLst>
              <a:ext uri="{FF2B5EF4-FFF2-40B4-BE49-F238E27FC236}">
                <a16:creationId xmlns:a16="http://schemas.microsoft.com/office/drawing/2014/main" id="{8450640E-C55C-5665-D2A3-49AF6FCFF2FC}"/>
              </a:ext>
            </a:extLst>
          </p:cNvPr>
          <p:cNvSpPr txBox="1"/>
          <p:nvPr/>
        </p:nvSpPr>
        <p:spPr>
          <a:xfrm>
            <a:off x="0" y="1032520"/>
            <a:ext cx="3707285" cy="4682480"/>
          </a:xfrm>
          <a:prstGeom prst="rect">
            <a:avLst/>
          </a:prstGeom>
          <a:solidFill>
            <a:srgbClr val="FFFFFF"/>
          </a:solidFill>
          <a:ln>
            <a:noFill/>
          </a:ln>
        </p:spPr>
        <p:txBody>
          <a:bodyPr wrap="square" lIns="360000" tIns="252000" rIns="360000" bIns="252000" rtlCol="0" anchor="ctr" anchorCtr="0">
            <a:noAutofit/>
          </a:bodyPr>
          <a:lstStyle/>
          <a:p>
            <a:pPr marL="0" marR="0" lvl="0" indent="0" algn="l" defTabSz="914400" rtl="0" eaLnBrk="0" fontAlgn="base" latinLnBrk="0" hangingPunct="0">
              <a:lnSpc>
                <a:spcPts val="3000"/>
              </a:lnSpc>
              <a:spcBef>
                <a:spcPct val="0"/>
              </a:spcBef>
              <a:spcAft>
                <a:spcPct val="0"/>
              </a:spcAft>
              <a:buClrTx/>
              <a:buSzTx/>
              <a:buFontTx/>
              <a:buNone/>
              <a:tabLst/>
              <a:defRPr/>
            </a:pPr>
            <a:r>
              <a:rPr kumimoji="0" lang="en-CA" sz="18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rPr>
              <a:t>GCworkplace is specifically designed to enable </a:t>
            </a:r>
            <a:r>
              <a:rPr kumimoji="0" lang="en-CA" sz="1800" b="0" i="1"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rPr>
              <a:t>Activity-Based Working</a:t>
            </a:r>
            <a:r>
              <a:rPr kumimoji="0" lang="en-CA" sz="18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rPr>
              <a:t>, which recognizes that with mobile technology, “work” isn’t somewhere you go, but rather something you do.</a:t>
            </a:r>
          </a:p>
        </p:txBody>
      </p:sp>
      <p:sp>
        <p:nvSpPr>
          <p:cNvPr id="6" name="Rectangle 5">
            <a:extLst>
              <a:ext uri="{FF2B5EF4-FFF2-40B4-BE49-F238E27FC236}">
                <a16:creationId xmlns:a16="http://schemas.microsoft.com/office/drawing/2014/main" id="{4BA3FBF8-77A8-C828-5034-32848704A02A}"/>
              </a:ext>
            </a:extLst>
          </p:cNvPr>
          <p:cNvSpPr/>
          <p:nvPr/>
        </p:nvSpPr>
        <p:spPr>
          <a:xfrm>
            <a:off x="3886201" y="1032519"/>
            <a:ext cx="8305800" cy="468247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srgbClr val="F1F2F2"/>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E4EE4968-AEE2-A88D-CD32-C1ACAFD17D8C}"/>
              </a:ext>
            </a:extLst>
          </p:cNvPr>
          <p:cNvGrpSpPr/>
          <p:nvPr/>
        </p:nvGrpSpPr>
        <p:grpSpPr>
          <a:xfrm>
            <a:off x="5369710" y="634778"/>
            <a:ext cx="5516462" cy="5516462"/>
            <a:chOff x="4411576" y="1032519"/>
            <a:chExt cx="5229168" cy="5229168"/>
          </a:xfrm>
        </p:grpSpPr>
        <p:pic>
          <p:nvPicPr>
            <p:cNvPr id="8" name="Graphic 7" descr="Yin And Yang outline">
              <a:extLst>
                <a:ext uri="{FF2B5EF4-FFF2-40B4-BE49-F238E27FC236}">
                  <a16:creationId xmlns:a16="http://schemas.microsoft.com/office/drawing/2014/main" id="{E32911FD-73B5-DEB6-AEE1-4E38DFE72A8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5400000">
              <a:off x="4411576" y="1032519"/>
              <a:ext cx="5229168" cy="5229168"/>
            </a:xfrm>
            <a:prstGeom prst="rect">
              <a:avLst/>
            </a:prstGeom>
          </p:spPr>
        </p:pic>
        <p:sp>
          <p:nvSpPr>
            <p:cNvPr id="9" name="Oval 8">
              <a:extLst>
                <a:ext uri="{FF2B5EF4-FFF2-40B4-BE49-F238E27FC236}">
                  <a16:creationId xmlns:a16="http://schemas.microsoft.com/office/drawing/2014/main" id="{CCC1B2C9-5545-668F-A91C-BE9BD0391811}"/>
                </a:ext>
              </a:extLst>
            </p:cNvPr>
            <p:cNvSpPr/>
            <p:nvPr/>
          </p:nvSpPr>
          <p:spPr>
            <a:xfrm>
              <a:off x="7408987" y="3102323"/>
              <a:ext cx="1177229" cy="1076485"/>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10" name="Oval 9">
              <a:extLst>
                <a:ext uri="{FF2B5EF4-FFF2-40B4-BE49-F238E27FC236}">
                  <a16:creationId xmlns:a16="http://schemas.microsoft.com/office/drawing/2014/main" id="{86E8B6D8-68DA-4421-C4E1-1F54126BA830}"/>
                </a:ext>
              </a:extLst>
            </p:cNvPr>
            <p:cNvSpPr/>
            <p:nvPr/>
          </p:nvSpPr>
          <p:spPr>
            <a:xfrm>
              <a:off x="5380456" y="3152335"/>
              <a:ext cx="1177229" cy="1076485"/>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grpSp>
      <p:sp>
        <p:nvSpPr>
          <p:cNvPr id="11" name="TextBox 10">
            <a:extLst>
              <a:ext uri="{FF2B5EF4-FFF2-40B4-BE49-F238E27FC236}">
                <a16:creationId xmlns:a16="http://schemas.microsoft.com/office/drawing/2014/main" id="{D98CC46B-C5B7-F8F7-29E5-44FF3D8F6501}"/>
              </a:ext>
            </a:extLst>
          </p:cNvPr>
          <p:cNvSpPr txBox="1"/>
          <p:nvPr/>
        </p:nvSpPr>
        <p:spPr>
          <a:xfrm>
            <a:off x="5250820" y="2677892"/>
            <a:ext cx="3653815" cy="16312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800" b="0" i="0" u="none" strike="noStrike" kern="1200" cap="none" spc="0" normalizeH="0" baseline="0" noProof="0" dirty="0">
                <a:ln>
                  <a:noFill/>
                </a:ln>
                <a:solidFill>
                  <a:srgbClr val="6D6F72"/>
                </a:solidFill>
                <a:effectLst/>
                <a:uLnTx/>
                <a:uFillTx/>
                <a:latin typeface="Avenir Next LT Pro Demi" panose="020B0704020202020204" pitchFamily="34" charset="0"/>
                <a:ea typeface="+mn-ea"/>
                <a:cs typeface="+mn-cs"/>
              </a:rPr>
              <a:t>Activit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800" b="0" i="0" u="none" strike="noStrike" kern="1200" cap="none" spc="0" normalizeH="0" baseline="0" noProof="0" dirty="0" err="1">
                <a:ln>
                  <a:noFill/>
                </a:ln>
                <a:solidFill>
                  <a:srgbClr val="6D6F72"/>
                </a:solidFill>
                <a:effectLst/>
                <a:uLnTx/>
                <a:uFillTx/>
                <a:latin typeface="Avenir Next LT Pro Demi" panose="020B0704020202020204" pitchFamily="34" charset="0"/>
                <a:ea typeface="+mn-ea"/>
                <a:cs typeface="+mn-cs"/>
              </a:rPr>
              <a:t>Based</a:t>
            </a:r>
            <a:r>
              <a:rPr kumimoji="0" lang="fr-CA" sz="2800" b="0" i="0" u="none" strike="noStrike" kern="1200" cap="none" spc="0" normalizeH="0" baseline="0" noProof="0" dirty="0">
                <a:ln>
                  <a:noFill/>
                </a:ln>
                <a:solidFill>
                  <a:srgbClr val="6D6F72"/>
                </a:solidFill>
                <a:effectLst/>
                <a:uLnTx/>
                <a:uFillTx/>
                <a:latin typeface="Avenir Next LT Pro Demi" panose="020B0704020202020204" pitchFamily="34" charset="0"/>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800" b="0" i="0" u="none" strike="noStrike" kern="1200" cap="none" spc="0" normalizeH="0" baseline="0" noProof="0" dirty="0" err="1">
                <a:ln>
                  <a:noFill/>
                </a:ln>
                <a:solidFill>
                  <a:srgbClr val="6D6F72"/>
                </a:solidFill>
                <a:effectLst/>
                <a:uLnTx/>
                <a:uFillTx/>
                <a:latin typeface="Avenir Next LT Pro Demi" panose="020B0704020202020204" pitchFamily="34" charset="0"/>
                <a:ea typeface="+mn-ea"/>
                <a:cs typeface="+mn-cs"/>
              </a:rPr>
              <a:t>Working</a:t>
            </a:r>
            <a:r>
              <a:rPr kumimoji="0" lang="fr-CA" sz="1400" b="0" i="0" u="none" strike="noStrike" kern="1200" cap="none" spc="0" normalizeH="0" baseline="0" noProof="0" dirty="0">
                <a:ln>
                  <a:noFill/>
                </a:ln>
                <a:solidFill>
                  <a:srgbClr val="6D6F72"/>
                </a:solidFill>
                <a:effectLst/>
                <a:uLnTx/>
                <a:uFillTx/>
                <a:latin typeface="Avenir Next LT Pro Demi" panose="020B0704020202020204" pitchFamily="34" charset="0"/>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600" b="0" i="0" u="none" strike="noStrike" kern="1200" cap="none" spc="0" normalizeH="0" baseline="0" noProof="0" dirty="0">
                <a:ln>
                  <a:noFill/>
                </a:ln>
                <a:solidFill>
                  <a:srgbClr val="636466"/>
                </a:solidFill>
                <a:effectLst/>
                <a:uLnTx/>
                <a:uFillTx/>
                <a:latin typeface="Avenir Next LT Pro Demi" panose="020B0704020202020204" pitchFamily="34" charset="0"/>
                <a:ea typeface="+mn-ea"/>
                <a:cs typeface="+mn-cs"/>
              </a:rPr>
              <a:t>(ABW)</a:t>
            </a:r>
            <a:endParaRPr kumimoji="0" lang="en-CA" sz="1400" b="0" i="0" u="none" strike="noStrike" kern="1200" cap="none" spc="0" normalizeH="0" baseline="0" noProof="0" dirty="0">
              <a:ln>
                <a:noFill/>
              </a:ln>
              <a:solidFill>
                <a:srgbClr val="636466"/>
              </a:solidFill>
              <a:effectLst/>
              <a:uLnTx/>
              <a:uFillTx/>
              <a:latin typeface="Avenir Next LT Pro Demi" panose="020B0704020202020204" pitchFamily="34" charset="0"/>
              <a:ea typeface="+mn-ea"/>
              <a:cs typeface="+mn-cs"/>
            </a:endParaRPr>
          </a:p>
        </p:txBody>
      </p:sp>
      <p:pic>
        <p:nvPicPr>
          <p:cNvPr id="12" name="Picture 11">
            <a:extLst>
              <a:ext uri="{FF2B5EF4-FFF2-40B4-BE49-F238E27FC236}">
                <a16:creationId xmlns:a16="http://schemas.microsoft.com/office/drawing/2014/main" id="{B5F22BC4-2AD1-2CB0-7B96-A448B1408879}"/>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31421"/>
          <a:stretch/>
        </p:blipFill>
        <p:spPr>
          <a:xfrm>
            <a:off x="8274895" y="2608848"/>
            <a:ext cx="1942194" cy="843880"/>
          </a:xfrm>
          <a:prstGeom prst="rect">
            <a:avLst/>
          </a:prstGeom>
        </p:spPr>
      </p:pic>
      <p:pic>
        <p:nvPicPr>
          <p:cNvPr id="13" name="Picture 12">
            <a:extLst>
              <a:ext uri="{FF2B5EF4-FFF2-40B4-BE49-F238E27FC236}">
                <a16:creationId xmlns:a16="http://schemas.microsoft.com/office/drawing/2014/main" id="{D9E65104-D874-BEC8-880C-85F9C1796C28}"/>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r="67476"/>
          <a:stretch/>
        </p:blipFill>
        <p:spPr>
          <a:xfrm>
            <a:off x="8624704" y="3334265"/>
            <a:ext cx="921098" cy="843880"/>
          </a:xfrm>
          <a:prstGeom prst="rect">
            <a:avLst/>
          </a:prstGeom>
        </p:spPr>
      </p:pic>
    </p:spTree>
    <p:extLst>
      <p:ext uri="{BB962C8B-B14F-4D97-AF65-F5344CB8AC3E}">
        <p14:creationId xmlns:p14="http://schemas.microsoft.com/office/powerpoint/2010/main" val="24682589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BD7CF6-6F56-5018-8C2D-86F8FC988D20}"/>
              </a:ext>
            </a:extLst>
          </p:cNvPr>
          <p:cNvSpPr>
            <a:spLocks noGrp="1"/>
          </p:cNvSpPr>
          <p:nvPr>
            <p:ph type="title"/>
          </p:nvPr>
        </p:nvSpPr>
        <p:spPr>
          <a:xfrm>
            <a:off x="245304" y="188640"/>
            <a:ext cx="11041821" cy="843880"/>
          </a:xfrm>
        </p:spPr>
        <p:txBody>
          <a:bodyPr anchor="ctr"/>
          <a:lstStyle/>
          <a:p>
            <a:pPr algn="l"/>
            <a:r>
              <a:rPr lang="en-US" sz="2800" b="0" dirty="0">
                <a:solidFill>
                  <a:srgbClr val="000000"/>
                </a:solidFill>
                <a:latin typeface="Avenir Next LT Pro Demi" panose="020B0704020202020204" pitchFamily="34" charset="0"/>
                <a:cs typeface="Arial" panose="020B0604020202020204" pitchFamily="34" charset="0"/>
              </a:rPr>
              <a:t>A Space Designed to be Unassigned</a:t>
            </a:r>
            <a:endParaRPr lang="en-CA" sz="2800" b="0" dirty="0">
              <a:latin typeface="Avenir Next LT Pro Demi" panose="020B0704020202020204" pitchFamily="34" charset="0"/>
            </a:endParaRPr>
          </a:p>
        </p:txBody>
      </p:sp>
      <p:sp>
        <p:nvSpPr>
          <p:cNvPr id="3" name="TextBox 2">
            <a:extLst>
              <a:ext uri="{FF2B5EF4-FFF2-40B4-BE49-F238E27FC236}">
                <a16:creationId xmlns:a16="http://schemas.microsoft.com/office/drawing/2014/main" id="{D95DED56-7AE0-3D5A-B023-EAE9E3206677}"/>
              </a:ext>
            </a:extLst>
          </p:cNvPr>
          <p:cNvSpPr txBox="1"/>
          <p:nvPr/>
        </p:nvSpPr>
        <p:spPr>
          <a:xfrm>
            <a:off x="0" y="1032520"/>
            <a:ext cx="3707285" cy="4682480"/>
          </a:xfrm>
          <a:prstGeom prst="rect">
            <a:avLst/>
          </a:prstGeom>
          <a:solidFill>
            <a:srgbClr val="FFFFFF"/>
          </a:solidFill>
          <a:ln>
            <a:noFill/>
          </a:ln>
        </p:spPr>
        <p:txBody>
          <a:bodyPr wrap="square" lIns="360000" tIns="252000" rIns="360000" bIns="252000" rtlCol="0" anchor="ctr" anchorCtr="0">
            <a:noAutofit/>
          </a:bodyPr>
          <a:lstStyle/>
          <a:p>
            <a:pPr marL="0" marR="0" lvl="0" indent="0" algn="l" defTabSz="914400" rtl="0" eaLnBrk="0" fontAlgn="base" latinLnBrk="0" hangingPunct="0">
              <a:lnSpc>
                <a:spcPts val="3000"/>
              </a:lnSpc>
              <a:spcBef>
                <a:spcPct val="0"/>
              </a:spcBef>
              <a:spcAft>
                <a:spcPct val="0"/>
              </a:spcAft>
              <a:buClrTx/>
              <a:buSzTx/>
              <a:buFontTx/>
              <a:buNone/>
              <a:tabLst/>
              <a:defRPr/>
            </a:pPr>
            <a:r>
              <a:rPr kumimoji="0" lang="en-CA" sz="18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rPr>
              <a:t>With a wide variety of workpoints found in three distinct acoustical zones, employees can untether from one specific spot and gain the freedom to access an entire ecosystem of work settings.</a:t>
            </a:r>
            <a:endParaRPr kumimoji="0" lang="en-CA" sz="1800" b="0" i="0" u="none" strike="noStrike" kern="1200" cap="none" spc="0" normalizeH="0" baseline="0" noProof="0" dirty="0">
              <a:ln>
                <a:noFill/>
              </a:ln>
              <a:solidFill>
                <a:srgbClr val="BB583E"/>
              </a:solidFill>
              <a:effectLst/>
              <a:uLnTx/>
              <a:uFillTx/>
              <a:latin typeface="Avenir Next LT Pro Demi" panose="020B0704020202020204" pitchFamily="34" charset="0"/>
              <a:ea typeface="+mn-ea"/>
              <a:cs typeface="+mn-cs"/>
            </a:endParaRPr>
          </a:p>
        </p:txBody>
      </p:sp>
      <p:sp>
        <p:nvSpPr>
          <p:cNvPr id="4" name="Rectangle 3">
            <a:extLst>
              <a:ext uri="{FF2B5EF4-FFF2-40B4-BE49-F238E27FC236}">
                <a16:creationId xmlns:a16="http://schemas.microsoft.com/office/drawing/2014/main" id="{1EE67C70-A084-0C45-295E-956D079B35B7}"/>
              </a:ext>
            </a:extLst>
          </p:cNvPr>
          <p:cNvSpPr/>
          <p:nvPr/>
        </p:nvSpPr>
        <p:spPr>
          <a:xfrm>
            <a:off x="3886201" y="1032519"/>
            <a:ext cx="8305800" cy="468247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srgbClr val="F1F2F2"/>
              </a:solidFill>
              <a:effectLst/>
              <a:uLnTx/>
              <a:uFillTx/>
              <a:latin typeface="Arial"/>
              <a:ea typeface="+mn-ea"/>
              <a:cs typeface="+mn-cs"/>
            </a:endParaRPr>
          </a:p>
        </p:txBody>
      </p:sp>
      <p:sp>
        <p:nvSpPr>
          <p:cNvPr id="5" name="Rounded Rectangle 11">
            <a:extLst>
              <a:ext uri="{FF2B5EF4-FFF2-40B4-BE49-F238E27FC236}">
                <a16:creationId xmlns:a16="http://schemas.microsoft.com/office/drawing/2014/main" id="{67D0B740-1BBC-5A0C-2E48-6E39059059A0}"/>
              </a:ext>
            </a:extLst>
          </p:cNvPr>
          <p:cNvSpPr>
            <a:spLocks noChangeAspect="1"/>
          </p:cNvSpPr>
          <p:nvPr/>
        </p:nvSpPr>
        <p:spPr>
          <a:xfrm>
            <a:off x="4414946" y="3857119"/>
            <a:ext cx="2690971" cy="1607052"/>
          </a:xfrm>
          <a:prstGeom prst="roundRect">
            <a:avLst>
              <a:gd name="adj" fmla="val 30531"/>
            </a:avLst>
          </a:prstGeom>
          <a:blipFill>
            <a:blip r:embed="rId2"/>
            <a:srcRect/>
            <a:stretch>
              <a:fillRect t="-11732"/>
            </a:stretch>
          </a:blip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CA" sz="1100" b="0" i="0" u="none" strike="noStrike" kern="1200" cap="none" spc="0" normalizeH="0" baseline="0" noProof="0">
              <a:ln>
                <a:noFill/>
              </a:ln>
              <a:solidFill>
                <a:srgbClr val="F1F2F2"/>
              </a:solidFill>
              <a:effectLst/>
              <a:uLnTx/>
              <a:uFillTx/>
              <a:latin typeface="Arial"/>
              <a:ea typeface="+mn-ea"/>
              <a:cs typeface="+mn-cs"/>
            </a:endParaRPr>
          </a:p>
        </p:txBody>
      </p:sp>
      <p:grpSp>
        <p:nvGrpSpPr>
          <p:cNvPr id="6" name="Group 5">
            <a:extLst>
              <a:ext uri="{FF2B5EF4-FFF2-40B4-BE49-F238E27FC236}">
                <a16:creationId xmlns:a16="http://schemas.microsoft.com/office/drawing/2014/main" id="{9FA66E7C-AD3A-0442-DE3B-0E93CBCD80BE}"/>
              </a:ext>
            </a:extLst>
          </p:cNvPr>
          <p:cNvGrpSpPr/>
          <p:nvPr/>
        </p:nvGrpSpPr>
        <p:grpSpPr>
          <a:xfrm>
            <a:off x="7568002" y="1218856"/>
            <a:ext cx="4408704" cy="3950737"/>
            <a:chOff x="7683199" y="1203704"/>
            <a:chExt cx="4408704" cy="3950737"/>
          </a:xfrm>
        </p:grpSpPr>
        <p:grpSp>
          <p:nvGrpSpPr>
            <p:cNvPr id="7" name="Group 6">
              <a:extLst>
                <a:ext uri="{FF2B5EF4-FFF2-40B4-BE49-F238E27FC236}">
                  <a16:creationId xmlns:a16="http://schemas.microsoft.com/office/drawing/2014/main" id="{2BB907D5-3C0E-628C-3487-5D1751497DCB}"/>
                </a:ext>
              </a:extLst>
            </p:cNvPr>
            <p:cNvGrpSpPr/>
            <p:nvPr/>
          </p:nvGrpSpPr>
          <p:grpSpPr>
            <a:xfrm>
              <a:off x="7683199" y="1455087"/>
              <a:ext cx="4153588" cy="3464059"/>
              <a:chOff x="7622460" y="1308463"/>
              <a:chExt cx="4153588" cy="3464059"/>
            </a:xfrm>
          </p:grpSpPr>
          <p:sp>
            <p:nvSpPr>
              <p:cNvPr id="11" name="Freeform: Shape 10">
                <a:extLst>
                  <a:ext uri="{FF2B5EF4-FFF2-40B4-BE49-F238E27FC236}">
                    <a16:creationId xmlns:a16="http://schemas.microsoft.com/office/drawing/2014/main" id="{DFBC41A3-EC88-1FF5-53ED-F2FB171EDBB8}"/>
                  </a:ext>
                </a:extLst>
              </p:cNvPr>
              <p:cNvSpPr/>
              <p:nvPr/>
            </p:nvSpPr>
            <p:spPr>
              <a:xfrm>
                <a:off x="7667625" y="3381375"/>
                <a:ext cx="4067175" cy="1362075"/>
              </a:xfrm>
              <a:custGeom>
                <a:avLst/>
                <a:gdLst>
                  <a:gd name="connsiteX0" fmla="*/ 0 w 4067175"/>
                  <a:gd name="connsiteY0" fmla="*/ 476250 h 1362075"/>
                  <a:gd name="connsiteX1" fmla="*/ 914400 w 4067175"/>
                  <a:gd name="connsiteY1" fmla="*/ 466725 h 1362075"/>
                  <a:gd name="connsiteX2" fmla="*/ 923925 w 4067175"/>
                  <a:gd name="connsiteY2" fmla="*/ 361950 h 1362075"/>
                  <a:gd name="connsiteX3" fmla="*/ 1419225 w 4067175"/>
                  <a:gd name="connsiteY3" fmla="*/ 361950 h 1362075"/>
                  <a:gd name="connsiteX4" fmla="*/ 1409700 w 4067175"/>
                  <a:gd name="connsiteY4" fmla="*/ 400050 h 1362075"/>
                  <a:gd name="connsiteX5" fmla="*/ 1809750 w 4067175"/>
                  <a:gd name="connsiteY5" fmla="*/ 390525 h 1362075"/>
                  <a:gd name="connsiteX6" fmla="*/ 1790700 w 4067175"/>
                  <a:gd name="connsiteY6" fmla="*/ 0 h 1362075"/>
                  <a:gd name="connsiteX7" fmla="*/ 2990850 w 4067175"/>
                  <a:gd name="connsiteY7" fmla="*/ 0 h 1362075"/>
                  <a:gd name="connsiteX8" fmla="*/ 2990850 w 4067175"/>
                  <a:gd name="connsiteY8" fmla="*/ 314325 h 1362075"/>
                  <a:gd name="connsiteX9" fmla="*/ 3562350 w 4067175"/>
                  <a:gd name="connsiteY9" fmla="*/ 323850 h 1362075"/>
                  <a:gd name="connsiteX10" fmla="*/ 3571875 w 4067175"/>
                  <a:gd name="connsiteY10" fmla="*/ 228600 h 1362075"/>
                  <a:gd name="connsiteX11" fmla="*/ 4067175 w 4067175"/>
                  <a:gd name="connsiteY11" fmla="*/ 219075 h 1362075"/>
                  <a:gd name="connsiteX12" fmla="*/ 4057650 w 4067175"/>
                  <a:gd name="connsiteY12" fmla="*/ 1352550 h 1362075"/>
                  <a:gd name="connsiteX13" fmla="*/ 0 w 4067175"/>
                  <a:gd name="connsiteY13" fmla="*/ 1362075 h 1362075"/>
                  <a:gd name="connsiteX14" fmla="*/ 0 w 4067175"/>
                  <a:gd name="connsiteY14" fmla="*/ 476250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67175" h="1362075">
                    <a:moveTo>
                      <a:pt x="0" y="476250"/>
                    </a:moveTo>
                    <a:lnTo>
                      <a:pt x="914400" y="466725"/>
                    </a:lnTo>
                    <a:lnTo>
                      <a:pt x="923925" y="361950"/>
                    </a:lnTo>
                    <a:lnTo>
                      <a:pt x="1419225" y="361950"/>
                    </a:lnTo>
                    <a:lnTo>
                      <a:pt x="1409700" y="400050"/>
                    </a:lnTo>
                    <a:lnTo>
                      <a:pt x="1809750" y="390525"/>
                    </a:lnTo>
                    <a:lnTo>
                      <a:pt x="1790700" y="0"/>
                    </a:lnTo>
                    <a:lnTo>
                      <a:pt x="2990850" y="0"/>
                    </a:lnTo>
                    <a:lnTo>
                      <a:pt x="2990850" y="314325"/>
                    </a:lnTo>
                    <a:lnTo>
                      <a:pt x="3562350" y="323850"/>
                    </a:lnTo>
                    <a:lnTo>
                      <a:pt x="3571875" y="228600"/>
                    </a:lnTo>
                    <a:lnTo>
                      <a:pt x="4067175" y="219075"/>
                    </a:lnTo>
                    <a:lnTo>
                      <a:pt x="4057650" y="1352550"/>
                    </a:lnTo>
                    <a:lnTo>
                      <a:pt x="0" y="1362075"/>
                    </a:lnTo>
                    <a:lnTo>
                      <a:pt x="0" y="476250"/>
                    </a:lnTo>
                    <a:close/>
                  </a:path>
                </a:pathLst>
              </a:custGeom>
              <a:solidFill>
                <a:srgbClr val="409786">
                  <a:alpha val="1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F1F2F2"/>
                  </a:solidFill>
                  <a:effectLst/>
                  <a:uLnTx/>
                  <a:uFillTx/>
                  <a:latin typeface="Arial"/>
                  <a:ea typeface="+mn-ea"/>
                  <a:cs typeface="+mn-cs"/>
                </a:endParaRPr>
              </a:p>
            </p:txBody>
          </p:sp>
          <p:sp>
            <p:nvSpPr>
              <p:cNvPr id="12" name="Freeform: Shape 11">
                <a:extLst>
                  <a:ext uri="{FF2B5EF4-FFF2-40B4-BE49-F238E27FC236}">
                    <a16:creationId xmlns:a16="http://schemas.microsoft.com/office/drawing/2014/main" id="{AFA5FA16-2871-6286-64B8-D0FB8A1B0664}"/>
                  </a:ext>
                </a:extLst>
              </p:cNvPr>
              <p:cNvSpPr/>
              <p:nvPr/>
            </p:nvSpPr>
            <p:spPr>
              <a:xfrm>
                <a:off x="7658100" y="1333500"/>
                <a:ext cx="4067175" cy="2514600"/>
              </a:xfrm>
              <a:custGeom>
                <a:avLst/>
                <a:gdLst>
                  <a:gd name="connsiteX0" fmla="*/ 0 w 4067175"/>
                  <a:gd name="connsiteY0" fmla="*/ 0 h 2514600"/>
                  <a:gd name="connsiteX1" fmla="*/ 4057650 w 4067175"/>
                  <a:gd name="connsiteY1" fmla="*/ 19050 h 2514600"/>
                  <a:gd name="connsiteX2" fmla="*/ 4067175 w 4067175"/>
                  <a:gd name="connsiteY2" fmla="*/ 552450 h 2514600"/>
                  <a:gd name="connsiteX3" fmla="*/ 1819275 w 4067175"/>
                  <a:gd name="connsiteY3" fmla="*/ 542925 h 2514600"/>
                  <a:gd name="connsiteX4" fmla="*/ 1790700 w 4067175"/>
                  <a:gd name="connsiteY4" fmla="*/ 1152525 h 2514600"/>
                  <a:gd name="connsiteX5" fmla="*/ 981075 w 4067175"/>
                  <a:gd name="connsiteY5" fmla="*/ 1152525 h 2514600"/>
                  <a:gd name="connsiteX6" fmla="*/ 981075 w 4067175"/>
                  <a:gd name="connsiteY6" fmla="*/ 762000 h 2514600"/>
                  <a:gd name="connsiteX7" fmla="*/ 704850 w 4067175"/>
                  <a:gd name="connsiteY7" fmla="*/ 752475 h 2514600"/>
                  <a:gd name="connsiteX8" fmla="*/ 695325 w 4067175"/>
                  <a:gd name="connsiteY8" fmla="*/ 1152525 h 2514600"/>
                  <a:gd name="connsiteX9" fmla="*/ 638175 w 4067175"/>
                  <a:gd name="connsiteY9" fmla="*/ 1152525 h 2514600"/>
                  <a:gd name="connsiteX10" fmla="*/ 657225 w 4067175"/>
                  <a:gd name="connsiteY10" fmla="*/ 1571625 h 2514600"/>
                  <a:gd name="connsiteX11" fmla="*/ 762000 w 4067175"/>
                  <a:gd name="connsiteY11" fmla="*/ 1562100 h 2514600"/>
                  <a:gd name="connsiteX12" fmla="*/ 771525 w 4067175"/>
                  <a:gd name="connsiteY12" fmla="*/ 2276475 h 2514600"/>
                  <a:gd name="connsiteX13" fmla="*/ 685800 w 4067175"/>
                  <a:gd name="connsiteY13" fmla="*/ 2276475 h 2514600"/>
                  <a:gd name="connsiteX14" fmla="*/ 685800 w 4067175"/>
                  <a:gd name="connsiteY14" fmla="*/ 2514600 h 2514600"/>
                  <a:gd name="connsiteX15" fmla="*/ 57150 w 4067175"/>
                  <a:gd name="connsiteY15" fmla="*/ 2514600 h 2514600"/>
                  <a:gd name="connsiteX16" fmla="*/ 66675 w 4067175"/>
                  <a:gd name="connsiteY16" fmla="*/ 1152525 h 2514600"/>
                  <a:gd name="connsiteX17" fmla="*/ 9525 w 4067175"/>
                  <a:gd name="connsiteY17" fmla="*/ 1143000 h 2514600"/>
                  <a:gd name="connsiteX18" fmla="*/ 0 w 4067175"/>
                  <a:gd name="connsiteY18" fmla="*/ 0 h 251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067175" h="2514600">
                    <a:moveTo>
                      <a:pt x="0" y="0"/>
                    </a:moveTo>
                    <a:lnTo>
                      <a:pt x="4057650" y="19050"/>
                    </a:lnTo>
                    <a:lnTo>
                      <a:pt x="4067175" y="552450"/>
                    </a:lnTo>
                    <a:lnTo>
                      <a:pt x="1819275" y="542925"/>
                    </a:lnTo>
                    <a:lnTo>
                      <a:pt x="1790700" y="1152525"/>
                    </a:lnTo>
                    <a:lnTo>
                      <a:pt x="981075" y="1152525"/>
                    </a:lnTo>
                    <a:lnTo>
                      <a:pt x="981075" y="762000"/>
                    </a:lnTo>
                    <a:lnTo>
                      <a:pt x="704850" y="752475"/>
                    </a:lnTo>
                    <a:lnTo>
                      <a:pt x="695325" y="1152525"/>
                    </a:lnTo>
                    <a:lnTo>
                      <a:pt x="638175" y="1152525"/>
                    </a:lnTo>
                    <a:lnTo>
                      <a:pt x="657225" y="1571625"/>
                    </a:lnTo>
                    <a:lnTo>
                      <a:pt x="762000" y="1562100"/>
                    </a:lnTo>
                    <a:lnTo>
                      <a:pt x="771525" y="2276475"/>
                    </a:lnTo>
                    <a:lnTo>
                      <a:pt x="685800" y="2276475"/>
                    </a:lnTo>
                    <a:lnTo>
                      <a:pt x="685800" y="2514600"/>
                    </a:lnTo>
                    <a:lnTo>
                      <a:pt x="57150" y="2514600"/>
                    </a:lnTo>
                    <a:lnTo>
                      <a:pt x="66675" y="1152525"/>
                    </a:lnTo>
                    <a:lnTo>
                      <a:pt x="9525" y="1143000"/>
                    </a:lnTo>
                    <a:lnTo>
                      <a:pt x="0" y="0"/>
                    </a:lnTo>
                    <a:close/>
                  </a:path>
                </a:pathLst>
              </a:custGeom>
              <a:solidFill>
                <a:srgbClr val="A2322B">
                  <a:alpha val="1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srgbClr val="F1F2F2"/>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6B0EEBBC-94B1-EDA8-5807-BC7747ACC4DB}"/>
                  </a:ext>
                </a:extLst>
              </p:cNvPr>
              <p:cNvSpPr/>
              <p:nvPr/>
            </p:nvSpPr>
            <p:spPr>
              <a:xfrm>
                <a:off x="8334375" y="3629274"/>
                <a:ext cx="257175" cy="218826"/>
              </a:xfrm>
              <a:prstGeom prst="rect">
                <a:avLst/>
              </a:prstGeom>
              <a:solidFill>
                <a:srgbClr val="409786">
                  <a:alpha val="1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F1F2F2"/>
                  </a:solidFill>
                  <a:effectLst/>
                  <a:uLnTx/>
                  <a:uFillTx/>
                  <a:latin typeface="Arial"/>
                  <a:ea typeface="+mn-ea"/>
                  <a:cs typeface="+mn-cs"/>
                </a:endParaRPr>
              </a:p>
            </p:txBody>
          </p:sp>
          <p:sp>
            <p:nvSpPr>
              <p:cNvPr id="14" name="Freeform: Shape 13">
                <a:extLst>
                  <a:ext uri="{FF2B5EF4-FFF2-40B4-BE49-F238E27FC236}">
                    <a16:creationId xmlns:a16="http://schemas.microsoft.com/office/drawing/2014/main" id="{4CC1C645-9325-086C-CC03-5F0DA7F71223}"/>
                  </a:ext>
                </a:extLst>
              </p:cNvPr>
              <p:cNvSpPr/>
              <p:nvPr/>
            </p:nvSpPr>
            <p:spPr>
              <a:xfrm>
                <a:off x="8639175" y="1885950"/>
                <a:ext cx="3086100" cy="1895475"/>
              </a:xfrm>
              <a:custGeom>
                <a:avLst/>
                <a:gdLst>
                  <a:gd name="connsiteX0" fmla="*/ 0 w 3086100"/>
                  <a:gd name="connsiteY0" fmla="*/ 590550 h 1895475"/>
                  <a:gd name="connsiteX1" fmla="*/ 828675 w 3086100"/>
                  <a:gd name="connsiteY1" fmla="*/ 590550 h 1895475"/>
                  <a:gd name="connsiteX2" fmla="*/ 828675 w 3086100"/>
                  <a:gd name="connsiteY2" fmla="*/ 0 h 1895475"/>
                  <a:gd name="connsiteX3" fmla="*/ 3086100 w 3086100"/>
                  <a:gd name="connsiteY3" fmla="*/ 0 h 1895475"/>
                  <a:gd name="connsiteX4" fmla="*/ 3086100 w 3086100"/>
                  <a:gd name="connsiteY4" fmla="*/ 1323975 h 1895475"/>
                  <a:gd name="connsiteX5" fmla="*/ 2200275 w 3086100"/>
                  <a:gd name="connsiteY5" fmla="*/ 1333500 h 1895475"/>
                  <a:gd name="connsiteX6" fmla="*/ 2209800 w 3086100"/>
                  <a:gd name="connsiteY6" fmla="*/ 1371600 h 1895475"/>
                  <a:gd name="connsiteX7" fmla="*/ 2028825 w 3086100"/>
                  <a:gd name="connsiteY7" fmla="*/ 1381125 h 1895475"/>
                  <a:gd name="connsiteX8" fmla="*/ 2028825 w 3086100"/>
                  <a:gd name="connsiteY8" fmla="*/ 1485900 h 1895475"/>
                  <a:gd name="connsiteX9" fmla="*/ 819150 w 3086100"/>
                  <a:gd name="connsiteY9" fmla="*/ 1495425 h 1895475"/>
                  <a:gd name="connsiteX10" fmla="*/ 828675 w 3086100"/>
                  <a:gd name="connsiteY10" fmla="*/ 1885950 h 1895475"/>
                  <a:gd name="connsiteX11" fmla="*/ 438150 w 3086100"/>
                  <a:gd name="connsiteY11" fmla="*/ 1895475 h 1895475"/>
                  <a:gd name="connsiteX12" fmla="*/ 438150 w 3086100"/>
                  <a:gd name="connsiteY12" fmla="*/ 1866900 h 1895475"/>
                  <a:gd name="connsiteX13" fmla="*/ 200025 w 3086100"/>
                  <a:gd name="connsiteY13" fmla="*/ 1857375 h 1895475"/>
                  <a:gd name="connsiteX14" fmla="*/ 190500 w 3086100"/>
                  <a:gd name="connsiteY14" fmla="*/ 819150 h 1895475"/>
                  <a:gd name="connsiteX15" fmla="*/ 0 w 3086100"/>
                  <a:gd name="connsiteY15" fmla="*/ 590550 h 1895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086100" h="1895475">
                    <a:moveTo>
                      <a:pt x="0" y="590550"/>
                    </a:moveTo>
                    <a:lnTo>
                      <a:pt x="828675" y="590550"/>
                    </a:lnTo>
                    <a:lnTo>
                      <a:pt x="828675" y="0"/>
                    </a:lnTo>
                    <a:lnTo>
                      <a:pt x="3086100" y="0"/>
                    </a:lnTo>
                    <a:lnTo>
                      <a:pt x="3086100" y="1323975"/>
                    </a:lnTo>
                    <a:lnTo>
                      <a:pt x="2200275" y="1333500"/>
                    </a:lnTo>
                    <a:lnTo>
                      <a:pt x="2209800" y="1371600"/>
                    </a:lnTo>
                    <a:lnTo>
                      <a:pt x="2028825" y="1381125"/>
                    </a:lnTo>
                    <a:lnTo>
                      <a:pt x="2028825" y="1485900"/>
                    </a:lnTo>
                    <a:lnTo>
                      <a:pt x="819150" y="1495425"/>
                    </a:lnTo>
                    <a:lnTo>
                      <a:pt x="828675" y="1885950"/>
                    </a:lnTo>
                    <a:lnTo>
                      <a:pt x="438150" y="1895475"/>
                    </a:lnTo>
                    <a:lnTo>
                      <a:pt x="438150" y="1866900"/>
                    </a:lnTo>
                    <a:lnTo>
                      <a:pt x="200025" y="1857375"/>
                    </a:lnTo>
                    <a:lnTo>
                      <a:pt x="190500" y="819150"/>
                    </a:lnTo>
                    <a:lnTo>
                      <a:pt x="0" y="590550"/>
                    </a:lnTo>
                    <a:close/>
                  </a:path>
                </a:pathLst>
              </a:custGeom>
              <a:solidFill>
                <a:srgbClr val="FAA41A">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F1F2F2"/>
                  </a:solidFill>
                  <a:effectLst/>
                  <a:uLnTx/>
                  <a:uFillTx/>
                  <a:latin typeface="Arial"/>
                  <a:ea typeface="+mn-ea"/>
                  <a:cs typeface="+mn-cs"/>
                </a:endParaRPr>
              </a:p>
            </p:txBody>
          </p:sp>
          <p:pic>
            <p:nvPicPr>
              <p:cNvPr id="15" name="Picture 14">
                <a:extLst>
                  <a:ext uri="{FF2B5EF4-FFF2-40B4-BE49-F238E27FC236}">
                    <a16:creationId xmlns:a16="http://schemas.microsoft.com/office/drawing/2014/main" id="{47AE7493-39CC-ABEA-AD6F-30C4C3103587}"/>
                  </a:ext>
                </a:extLst>
              </p:cNvPr>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6354" t="3179" r="7332" b="3664"/>
              <a:stretch/>
            </p:blipFill>
            <p:spPr>
              <a:xfrm>
                <a:off x="7622460" y="1308463"/>
                <a:ext cx="4153588" cy="3464059"/>
              </a:xfrm>
              <a:prstGeom prst="rect">
                <a:avLst/>
              </a:prstGeom>
            </p:spPr>
          </p:pic>
        </p:grpSp>
        <p:sp>
          <p:nvSpPr>
            <p:cNvPr id="8" name="TextBox 7">
              <a:extLst>
                <a:ext uri="{FF2B5EF4-FFF2-40B4-BE49-F238E27FC236}">
                  <a16:creationId xmlns:a16="http://schemas.microsoft.com/office/drawing/2014/main" id="{25830BD8-3622-54C1-F792-6A849E7DAA22}"/>
                </a:ext>
              </a:extLst>
            </p:cNvPr>
            <p:cNvSpPr txBox="1"/>
            <p:nvPr/>
          </p:nvSpPr>
          <p:spPr>
            <a:xfrm>
              <a:off x="9017824" y="1203704"/>
              <a:ext cx="1848635"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0" i="0" u="none" strike="noStrike" kern="1200" cap="none" spc="0" normalizeH="0" baseline="0" noProof="0" dirty="0">
                  <a:ln>
                    <a:noFill/>
                  </a:ln>
                  <a:solidFill>
                    <a:srgbClr val="A2322B"/>
                  </a:solidFill>
                  <a:effectLst/>
                  <a:uLnTx/>
                  <a:uFillTx/>
                  <a:latin typeface="Avenir Next LT Pro Demi" panose="020B0704020202020204" pitchFamily="34" charset="0"/>
                  <a:ea typeface="+mn-ea"/>
                  <a:cs typeface="+mn-cs"/>
                </a:rPr>
                <a:t>Interactive Zone</a:t>
              </a:r>
              <a:endParaRPr kumimoji="0" lang="en-CA" sz="1400" b="0" i="0" u="none" strike="noStrike" kern="1200" cap="none" spc="0" normalizeH="0" baseline="0" noProof="0" dirty="0">
                <a:ln>
                  <a:noFill/>
                </a:ln>
                <a:solidFill>
                  <a:srgbClr val="A2322B"/>
                </a:solidFill>
                <a:effectLst/>
                <a:uLnTx/>
                <a:uFillTx/>
                <a:latin typeface="Avenir Next LT Pro Demi" panose="020B0704020202020204" pitchFamily="34" charset="0"/>
                <a:ea typeface="+mn-ea"/>
                <a:cs typeface="+mn-cs"/>
              </a:endParaRPr>
            </a:p>
          </p:txBody>
        </p:sp>
        <p:sp>
          <p:nvSpPr>
            <p:cNvPr id="9" name="TextBox 8">
              <a:extLst>
                <a:ext uri="{FF2B5EF4-FFF2-40B4-BE49-F238E27FC236}">
                  <a16:creationId xmlns:a16="http://schemas.microsoft.com/office/drawing/2014/main" id="{EFE45072-A6F8-0169-0601-8A655653F22A}"/>
                </a:ext>
              </a:extLst>
            </p:cNvPr>
            <p:cNvSpPr txBox="1"/>
            <p:nvPr/>
          </p:nvSpPr>
          <p:spPr>
            <a:xfrm rot="16200000">
              <a:off x="10851428" y="2290290"/>
              <a:ext cx="2173173"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0" i="0" u="none" strike="noStrike" kern="1200" cap="none" spc="0" normalizeH="0" baseline="0" noProof="0" dirty="0">
                  <a:ln>
                    <a:noFill/>
                  </a:ln>
                  <a:solidFill>
                    <a:srgbClr val="FAA41A"/>
                  </a:solidFill>
                  <a:effectLst/>
                  <a:uLnTx/>
                  <a:uFillTx/>
                  <a:latin typeface="Avenir Next LT Pro Demi" panose="020B0704020202020204" pitchFamily="34" charset="0"/>
                  <a:ea typeface="+mn-ea"/>
                  <a:cs typeface="+mn-cs"/>
                </a:rPr>
                <a:t>Transitional Zone</a:t>
              </a:r>
              <a:endParaRPr kumimoji="0" lang="en-CA" sz="1400" b="0" i="0" u="none" strike="noStrike" kern="1200" cap="none" spc="0" normalizeH="0" baseline="0" noProof="0" dirty="0">
                <a:ln>
                  <a:noFill/>
                </a:ln>
                <a:solidFill>
                  <a:srgbClr val="FAA41A"/>
                </a:solidFill>
                <a:effectLst/>
                <a:uLnTx/>
                <a:uFillTx/>
                <a:latin typeface="Avenir Next LT Pro Demi" panose="020B0704020202020204" pitchFamily="34" charset="0"/>
                <a:ea typeface="+mn-ea"/>
                <a:cs typeface="+mn-cs"/>
              </a:endParaRPr>
            </a:p>
          </p:txBody>
        </p:sp>
        <p:sp>
          <p:nvSpPr>
            <p:cNvPr id="10" name="TextBox 9">
              <a:extLst>
                <a:ext uri="{FF2B5EF4-FFF2-40B4-BE49-F238E27FC236}">
                  <a16:creationId xmlns:a16="http://schemas.microsoft.com/office/drawing/2014/main" id="{0A311FB0-C16E-1D1C-2C3C-89308B87A06C}"/>
                </a:ext>
              </a:extLst>
            </p:cNvPr>
            <p:cNvSpPr txBox="1"/>
            <p:nvPr/>
          </p:nvSpPr>
          <p:spPr>
            <a:xfrm>
              <a:off x="9412494" y="4846664"/>
              <a:ext cx="1660939"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0" i="0" u="none" strike="noStrike" kern="1200" cap="none" spc="0" normalizeH="0" baseline="0" noProof="0" dirty="0">
                  <a:ln>
                    <a:noFill/>
                  </a:ln>
                  <a:solidFill>
                    <a:srgbClr val="409786"/>
                  </a:solidFill>
                  <a:effectLst/>
                  <a:uLnTx/>
                  <a:uFillTx/>
                  <a:latin typeface="Avenir Next LT Pro Demi" panose="020B0704020202020204" pitchFamily="34" charset="0"/>
                  <a:ea typeface="+mn-ea"/>
                  <a:cs typeface="+mn-cs"/>
                </a:rPr>
                <a:t>Quiet Zone</a:t>
              </a:r>
              <a:endParaRPr kumimoji="0" lang="en-CA" sz="1400" b="0" i="0" u="none" strike="noStrike" kern="1200" cap="none" spc="0" normalizeH="0" baseline="0" noProof="0" dirty="0">
                <a:ln>
                  <a:noFill/>
                </a:ln>
                <a:solidFill>
                  <a:srgbClr val="409786"/>
                </a:solidFill>
                <a:effectLst/>
                <a:uLnTx/>
                <a:uFillTx/>
                <a:latin typeface="Avenir Next LT Pro Demi" panose="020B0704020202020204" pitchFamily="34" charset="0"/>
                <a:ea typeface="+mn-ea"/>
                <a:cs typeface="+mn-cs"/>
              </a:endParaRPr>
            </a:p>
          </p:txBody>
        </p:sp>
      </p:grpSp>
      <p:sp>
        <p:nvSpPr>
          <p:cNvPr id="16" name="Rectangle 15">
            <a:extLst>
              <a:ext uri="{FF2B5EF4-FFF2-40B4-BE49-F238E27FC236}">
                <a16:creationId xmlns:a16="http://schemas.microsoft.com/office/drawing/2014/main" id="{6D546149-49F9-8240-C831-4484095F3E3C}"/>
              </a:ext>
            </a:extLst>
          </p:cNvPr>
          <p:cNvSpPr/>
          <p:nvPr/>
        </p:nvSpPr>
        <p:spPr>
          <a:xfrm>
            <a:off x="6330122" y="3322282"/>
            <a:ext cx="947790" cy="4142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1"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Arial" panose="020B0604020202020204" pitchFamily="34" charset="0"/>
              </a:rPr>
              <a:t>Focus Work</a:t>
            </a:r>
            <a:endParaRPr kumimoji="0" lang="en-CA" sz="1400" b="1"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Arial" panose="020B0604020202020204" pitchFamily="34" charset="0"/>
            </a:endParaRPr>
          </a:p>
        </p:txBody>
      </p:sp>
      <p:sp>
        <p:nvSpPr>
          <p:cNvPr id="17" name="Rectangle 16">
            <a:extLst>
              <a:ext uri="{FF2B5EF4-FFF2-40B4-BE49-F238E27FC236}">
                <a16:creationId xmlns:a16="http://schemas.microsoft.com/office/drawing/2014/main" id="{79181A31-7646-D1BF-3EA2-41819AAA7A09}"/>
              </a:ext>
            </a:extLst>
          </p:cNvPr>
          <p:cNvSpPr/>
          <p:nvPr/>
        </p:nvSpPr>
        <p:spPr>
          <a:xfrm>
            <a:off x="4900672" y="3110228"/>
            <a:ext cx="947789" cy="4071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Arial" panose="020B0604020202020204" pitchFamily="34" charset="0"/>
              </a:rPr>
              <a:t>Phone Calls</a:t>
            </a:r>
          </a:p>
        </p:txBody>
      </p:sp>
      <p:sp>
        <p:nvSpPr>
          <p:cNvPr id="18" name="Rectangle 17">
            <a:extLst>
              <a:ext uri="{FF2B5EF4-FFF2-40B4-BE49-F238E27FC236}">
                <a16:creationId xmlns:a16="http://schemas.microsoft.com/office/drawing/2014/main" id="{C2CD7ADC-A687-DE02-5BF3-98F06052C84C}"/>
              </a:ext>
            </a:extLst>
          </p:cNvPr>
          <p:cNvSpPr/>
          <p:nvPr/>
        </p:nvSpPr>
        <p:spPr>
          <a:xfrm>
            <a:off x="4157685" y="3357544"/>
            <a:ext cx="896852" cy="3868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Arial" panose="020B0604020202020204" pitchFamily="34" charset="0"/>
              </a:rPr>
              <a:t>Quick Chat</a:t>
            </a:r>
          </a:p>
        </p:txBody>
      </p:sp>
      <p:sp>
        <p:nvSpPr>
          <p:cNvPr id="19" name="Rectangle 18">
            <a:extLst>
              <a:ext uri="{FF2B5EF4-FFF2-40B4-BE49-F238E27FC236}">
                <a16:creationId xmlns:a16="http://schemas.microsoft.com/office/drawing/2014/main" id="{DA54FF8D-3847-8F06-F3A2-4F9BC7C6A7F4}"/>
              </a:ext>
            </a:extLst>
          </p:cNvPr>
          <p:cNvSpPr/>
          <p:nvPr/>
        </p:nvSpPr>
        <p:spPr>
          <a:xfrm>
            <a:off x="5555950" y="3061525"/>
            <a:ext cx="1161857" cy="3376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400" b="1"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Arial" panose="020B0604020202020204" pitchFamily="34" charset="0"/>
              </a:rPr>
              <a:t>Routine Tasks</a:t>
            </a:r>
          </a:p>
        </p:txBody>
      </p:sp>
      <p:pic>
        <p:nvPicPr>
          <p:cNvPr id="20" name="Graphic 19" descr="Telephone with solid fill">
            <a:extLst>
              <a:ext uri="{FF2B5EF4-FFF2-40B4-BE49-F238E27FC236}">
                <a16:creationId xmlns:a16="http://schemas.microsoft.com/office/drawing/2014/main" id="{0BB60895-62F8-ABA4-595D-B0523ACF1E5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55077" y="3466060"/>
            <a:ext cx="620347" cy="620347"/>
          </a:xfrm>
          <a:prstGeom prst="rect">
            <a:avLst/>
          </a:prstGeom>
        </p:spPr>
      </p:pic>
      <p:pic>
        <p:nvPicPr>
          <p:cNvPr id="21" name="Graphic 20" descr="Two Men with solid fill">
            <a:extLst>
              <a:ext uri="{FF2B5EF4-FFF2-40B4-BE49-F238E27FC236}">
                <a16:creationId xmlns:a16="http://schemas.microsoft.com/office/drawing/2014/main" id="{5AAD7E3B-12EA-498F-9DDA-5F4CE784F035}"/>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b="61446"/>
          <a:stretch/>
        </p:blipFill>
        <p:spPr>
          <a:xfrm>
            <a:off x="4106046" y="3706453"/>
            <a:ext cx="1037653" cy="400050"/>
          </a:xfrm>
          <a:prstGeom prst="rect">
            <a:avLst/>
          </a:prstGeom>
        </p:spPr>
      </p:pic>
      <p:pic>
        <p:nvPicPr>
          <p:cNvPr id="22" name="Graphic 21" descr="Email with solid fill">
            <a:extLst>
              <a:ext uri="{FF2B5EF4-FFF2-40B4-BE49-F238E27FC236}">
                <a16:creationId xmlns:a16="http://schemas.microsoft.com/office/drawing/2014/main" id="{A9AE8D1F-28C3-5A05-F730-08EEF0B7FB4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897706" y="3428043"/>
            <a:ext cx="516413" cy="516413"/>
          </a:xfrm>
          <a:prstGeom prst="rect">
            <a:avLst/>
          </a:prstGeom>
        </p:spPr>
      </p:pic>
      <p:pic>
        <p:nvPicPr>
          <p:cNvPr id="23" name="Graphic 22" descr="Head with gears with solid fill">
            <a:extLst>
              <a:ext uri="{FF2B5EF4-FFF2-40B4-BE49-F238E27FC236}">
                <a16:creationId xmlns:a16="http://schemas.microsoft.com/office/drawing/2014/main" id="{32BC948A-4B67-4FC0-3D09-31EC78DD1D3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564531" y="3781830"/>
            <a:ext cx="510445" cy="510445"/>
          </a:xfrm>
          <a:prstGeom prst="rect">
            <a:avLst/>
          </a:prstGeom>
        </p:spPr>
      </p:pic>
      <p:sp>
        <p:nvSpPr>
          <p:cNvPr id="24" name="Freeform: Shape 23">
            <a:extLst>
              <a:ext uri="{FF2B5EF4-FFF2-40B4-BE49-F238E27FC236}">
                <a16:creationId xmlns:a16="http://schemas.microsoft.com/office/drawing/2014/main" id="{D63947C0-18B8-1311-6A78-24927549761E}"/>
              </a:ext>
            </a:extLst>
          </p:cNvPr>
          <p:cNvSpPr/>
          <p:nvPr/>
        </p:nvSpPr>
        <p:spPr>
          <a:xfrm>
            <a:off x="4605212" y="1336132"/>
            <a:ext cx="4972050" cy="1913080"/>
          </a:xfrm>
          <a:custGeom>
            <a:avLst/>
            <a:gdLst>
              <a:gd name="connsiteX0" fmla="*/ 0 w 4972050"/>
              <a:gd name="connsiteY0" fmla="*/ 1945911 h 1945911"/>
              <a:gd name="connsiteX1" fmla="*/ 2238375 w 4972050"/>
              <a:gd name="connsiteY1" fmla="*/ 69486 h 1945911"/>
              <a:gd name="connsiteX2" fmla="*/ 4972050 w 4972050"/>
              <a:gd name="connsiteY2" fmla="*/ 583836 h 1945911"/>
            </a:gdLst>
            <a:ahLst/>
            <a:cxnLst>
              <a:cxn ang="0">
                <a:pos x="connsiteX0" y="connsiteY0"/>
              </a:cxn>
              <a:cxn ang="0">
                <a:pos x="connsiteX1" y="connsiteY1"/>
              </a:cxn>
              <a:cxn ang="0">
                <a:pos x="connsiteX2" y="connsiteY2"/>
              </a:cxn>
            </a:cxnLst>
            <a:rect l="l" t="t" r="r" b="b"/>
            <a:pathLst>
              <a:path w="4972050" h="1945911">
                <a:moveTo>
                  <a:pt x="0" y="1945911"/>
                </a:moveTo>
                <a:cubicBezTo>
                  <a:pt x="704850" y="1121204"/>
                  <a:pt x="1409700" y="296498"/>
                  <a:pt x="2238375" y="69486"/>
                </a:cubicBezTo>
                <a:cubicBezTo>
                  <a:pt x="3067050" y="-157526"/>
                  <a:pt x="4019550" y="213155"/>
                  <a:pt x="4972050" y="583836"/>
                </a:cubicBezTo>
              </a:path>
            </a:pathLst>
          </a:custGeom>
          <a:noFill/>
          <a:ln w="15875">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F1F2F2"/>
              </a:solidFill>
              <a:effectLst/>
              <a:uLnTx/>
              <a:uFillTx/>
              <a:latin typeface="Arial"/>
              <a:ea typeface="+mn-ea"/>
              <a:cs typeface="+mn-cs"/>
            </a:endParaRPr>
          </a:p>
        </p:txBody>
      </p:sp>
      <p:sp>
        <p:nvSpPr>
          <p:cNvPr id="25" name="Freeform: Shape 24">
            <a:extLst>
              <a:ext uri="{FF2B5EF4-FFF2-40B4-BE49-F238E27FC236}">
                <a16:creationId xmlns:a16="http://schemas.microsoft.com/office/drawing/2014/main" id="{5FBEEFF3-0B27-8DB4-B253-B8351DF4AA8E}"/>
              </a:ext>
            </a:extLst>
          </p:cNvPr>
          <p:cNvSpPr/>
          <p:nvPr/>
        </p:nvSpPr>
        <p:spPr>
          <a:xfrm>
            <a:off x="5470042" y="2111557"/>
            <a:ext cx="5267325" cy="1163636"/>
          </a:xfrm>
          <a:custGeom>
            <a:avLst/>
            <a:gdLst>
              <a:gd name="connsiteX0" fmla="*/ 0 w 5267325"/>
              <a:gd name="connsiteY0" fmla="*/ 963611 h 1163636"/>
              <a:gd name="connsiteX1" fmla="*/ 1800225 w 5267325"/>
              <a:gd name="connsiteY1" fmla="*/ 1586 h 1163636"/>
              <a:gd name="connsiteX2" fmla="*/ 5267325 w 5267325"/>
              <a:gd name="connsiteY2" fmla="*/ 1163636 h 1163636"/>
            </a:gdLst>
            <a:ahLst/>
            <a:cxnLst>
              <a:cxn ang="0">
                <a:pos x="connsiteX0" y="connsiteY0"/>
              </a:cxn>
              <a:cxn ang="0">
                <a:pos x="connsiteX1" y="connsiteY1"/>
              </a:cxn>
              <a:cxn ang="0">
                <a:pos x="connsiteX2" y="connsiteY2"/>
              </a:cxn>
            </a:cxnLst>
            <a:rect l="l" t="t" r="r" b="b"/>
            <a:pathLst>
              <a:path w="5267325" h="1163636">
                <a:moveTo>
                  <a:pt x="0" y="963611"/>
                </a:moveTo>
                <a:cubicBezTo>
                  <a:pt x="461169" y="465929"/>
                  <a:pt x="922338" y="-31752"/>
                  <a:pt x="1800225" y="1586"/>
                </a:cubicBezTo>
                <a:cubicBezTo>
                  <a:pt x="2678113" y="34923"/>
                  <a:pt x="4689475" y="982661"/>
                  <a:pt x="5267325" y="1163636"/>
                </a:cubicBezTo>
              </a:path>
            </a:pathLst>
          </a:custGeom>
          <a:noFill/>
          <a:ln w="15875">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F1F2F2"/>
              </a:solidFill>
              <a:effectLst/>
              <a:uLnTx/>
              <a:uFillTx/>
              <a:latin typeface="Arial"/>
              <a:ea typeface="+mn-ea"/>
              <a:cs typeface="+mn-cs"/>
            </a:endParaRPr>
          </a:p>
        </p:txBody>
      </p:sp>
      <p:sp>
        <p:nvSpPr>
          <p:cNvPr id="26" name="Freeform: Shape 25">
            <a:extLst>
              <a:ext uri="{FF2B5EF4-FFF2-40B4-BE49-F238E27FC236}">
                <a16:creationId xmlns:a16="http://schemas.microsoft.com/office/drawing/2014/main" id="{0B9E77F1-AAB0-E7E5-B89F-A082D3C50DC8}"/>
              </a:ext>
            </a:extLst>
          </p:cNvPr>
          <p:cNvSpPr/>
          <p:nvPr/>
        </p:nvSpPr>
        <p:spPr>
          <a:xfrm>
            <a:off x="6136878" y="2661683"/>
            <a:ext cx="1734812" cy="395697"/>
          </a:xfrm>
          <a:custGeom>
            <a:avLst/>
            <a:gdLst>
              <a:gd name="connsiteX0" fmla="*/ 0 w 1485900"/>
              <a:gd name="connsiteY0" fmla="*/ 276830 h 343505"/>
              <a:gd name="connsiteX1" fmla="*/ 828675 w 1485900"/>
              <a:gd name="connsiteY1" fmla="*/ 605 h 343505"/>
              <a:gd name="connsiteX2" fmla="*/ 1485900 w 1485900"/>
              <a:gd name="connsiteY2" fmla="*/ 343505 h 343505"/>
            </a:gdLst>
            <a:ahLst/>
            <a:cxnLst>
              <a:cxn ang="0">
                <a:pos x="connsiteX0" y="connsiteY0"/>
              </a:cxn>
              <a:cxn ang="0">
                <a:pos x="connsiteX1" y="connsiteY1"/>
              </a:cxn>
              <a:cxn ang="0">
                <a:pos x="connsiteX2" y="connsiteY2"/>
              </a:cxn>
            </a:cxnLst>
            <a:rect l="l" t="t" r="r" b="b"/>
            <a:pathLst>
              <a:path w="1485900" h="343505">
                <a:moveTo>
                  <a:pt x="0" y="276830"/>
                </a:moveTo>
                <a:cubicBezTo>
                  <a:pt x="290512" y="133161"/>
                  <a:pt x="581025" y="-10508"/>
                  <a:pt x="828675" y="605"/>
                </a:cubicBezTo>
                <a:cubicBezTo>
                  <a:pt x="1076325" y="11717"/>
                  <a:pt x="1374775" y="272068"/>
                  <a:pt x="1485900" y="343505"/>
                </a:cubicBezTo>
              </a:path>
            </a:pathLst>
          </a:custGeom>
          <a:noFill/>
          <a:ln w="15875">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F1F2F2"/>
              </a:solidFill>
              <a:effectLst/>
              <a:uLnTx/>
              <a:uFillTx/>
              <a:latin typeface="Arial"/>
              <a:ea typeface="+mn-ea"/>
              <a:cs typeface="+mn-cs"/>
            </a:endParaRPr>
          </a:p>
        </p:txBody>
      </p:sp>
      <p:sp>
        <p:nvSpPr>
          <p:cNvPr id="27" name="Freeform: Shape 26">
            <a:extLst>
              <a:ext uri="{FF2B5EF4-FFF2-40B4-BE49-F238E27FC236}">
                <a16:creationId xmlns:a16="http://schemas.microsoft.com/office/drawing/2014/main" id="{2DC5DDE6-ED27-3DBC-0388-546C374AA32B}"/>
              </a:ext>
            </a:extLst>
          </p:cNvPr>
          <p:cNvSpPr/>
          <p:nvPr/>
        </p:nvSpPr>
        <p:spPr>
          <a:xfrm rot="21361981">
            <a:off x="6832136" y="3192806"/>
            <a:ext cx="2381250" cy="1257300"/>
          </a:xfrm>
          <a:custGeom>
            <a:avLst/>
            <a:gdLst>
              <a:gd name="connsiteX0" fmla="*/ 0 w 2381250"/>
              <a:gd name="connsiteY0" fmla="*/ 0 h 1257300"/>
              <a:gd name="connsiteX1" fmla="*/ 1143000 w 2381250"/>
              <a:gd name="connsiteY1" fmla="*/ 209550 h 1257300"/>
              <a:gd name="connsiteX2" fmla="*/ 2381250 w 2381250"/>
              <a:gd name="connsiteY2" fmla="*/ 1257300 h 1257300"/>
            </a:gdLst>
            <a:ahLst/>
            <a:cxnLst>
              <a:cxn ang="0">
                <a:pos x="connsiteX0" y="connsiteY0"/>
              </a:cxn>
              <a:cxn ang="0">
                <a:pos x="connsiteX1" y="connsiteY1"/>
              </a:cxn>
              <a:cxn ang="0">
                <a:pos x="connsiteX2" y="connsiteY2"/>
              </a:cxn>
            </a:cxnLst>
            <a:rect l="l" t="t" r="r" b="b"/>
            <a:pathLst>
              <a:path w="2381250" h="1257300">
                <a:moveTo>
                  <a:pt x="0" y="0"/>
                </a:moveTo>
                <a:cubicBezTo>
                  <a:pt x="373062" y="0"/>
                  <a:pt x="746125" y="0"/>
                  <a:pt x="1143000" y="209550"/>
                </a:cubicBezTo>
                <a:cubicBezTo>
                  <a:pt x="1539875" y="419100"/>
                  <a:pt x="2176462" y="1096962"/>
                  <a:pt x="2381250" y="1257300"/>
                </a:cubicBezTo>
              </a:path>
            </a:pathLst>
          </a:custGeom>
          <a:noFill/>
          <a:ln w="15875">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F1F2F2"/>
              </a:solidFill>
              <a:effectLst/>
              <a:uLnTx/>
              <a:uFillTx/>
              <a:latin typeface="Arial"/>
              <a:ea typeface="+mn-ea"/>
              <a:cs typeface="+mn-cs"/>
            </a:endParaRPr>
          </a:p>
        </p:txBody>
      </p:sp>
    </p:spTree>
    <p:extLst>
      <p:ext uri="{BB962C8B-B14F-4D97-AF65-F5344CB8AC3E}">
        <p14:creationId xmlns:p14="http://schemas.microsoft.com/office/powerpoint/2010/main" val="11769028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09816F-06BF-4E7D-B646-1B79FF1B9DE9}"/>
              </a:ext>
            </a:extLst>
          </p:cNvPr>
          <p:cNvSpPr>
            <a:spLocks noGrp="1"/>
          </p:cNvSpPr>
          <p:nvPr>
            <p:ph type="title"/>
          </p:nvPr>
        </p:nvSpPr>
        <p:spPr>
          <a:xfrm>
            <a:off x="245304" y="188640"/>
            <a:ext cx="11041821" cy="843880"/>
          </a:xfrm>
        </p:spPr>
        <p:txBody>
          <a:bodyPr anchor="ctr"/>
          <a:lstStyle/>
          <a:p>
            <a:pPr algn="l"/>
            <a:r>
              <a:rPr lang="en-US" sz="2800" b="0" dirty="0">
                <a:solidFill>
                  <a:srgbClr val="000000"/>
                </a:solidFill>
                <a:latin typeface="Avenir Next LT Pro Demi" panose="020B0704020202020204" pitchFamily="34" charset="0"/>
                <a:cs typeface="Arial" panose="020B0604020202020204" pitchFamily="34" charset="0"/>
              </a:rPr>
              <a:t>GCworkplace is Inclusive</a:t>
            </a:r>
            <a:endParaRPr lang="en-CA" sz="2800" b="0" dirty="0">
              <a:latin typeface="Avenir Next LT Pro Demi" panose="020B0704020202020204" pitchFamily="34" charset="0"/>
            </a:endParaRPr>
          </a:p>
        </p:txBody>
      </p:sp>
      <p:sp>
        <p:nvSpPr>
          <p:cNvPr id="3" name="TextBox 2">
            <a:extLst>
              <a:ext uri="{FF2B5EF4-FFF2-40B4-BE49-F238E27FC236}">
                <a16:creationId xmlns:a16="http://schemas.microsoft.com/office/drawing/2014/main" id="{43BB42A1-CAB7-F3BE-E39A-4715561A6063}"/>
              </a:ext>
            </a:extLst>
          </p:cNvPr>
          <p:cNvSpPr txBox="1"/>
          <p:nvPr/>
        </p:nvSpPr>
        <p:spPr>
          <a:xfrm>
            <a:off x="0" y="1032520"/>
            <a:ext cx="3707285" cy="4682480"/>
          </a:xfrm>
          <a:prstGeom prst="rect">
            <a:avLst/>
          </a:prstGeom>
          <a:solidFill>
            <a:srgbClr val="FFFFFF"/>
          </a:solidFill>
          <a:ln>
            <a:noFill/>
          </a:ln>
        </p:spPr>
        <p:txBody>
          <a:bodyPr wrap="square" lIns="360000" tIns="252000" rIns="360000" bIns="252000" rtlCol="0" anchor="ctr" anchorCtr="0">
            <a:noAutofit/>
          </a:bodyPr>
          <a:lstStyle/>
          <a:p>
            <a:pPr marL="0" marR="0" lvl="0" indent="0" algn="l" defTabSz="914400" rtl="0" eaLnBrk="0" fontAlgn="base" latinLnBrk="0" hangingPunct="0">
              <a:lnSpc>
                <a:spcPts val="3000"/>
              </a:lnSpc>
              <a:spcBef>
                <a:spcPct val="0"/>
              </a:spcBef>
              <a:spcAft>
                <a:spcPct val="0"/>
              </a:spcAft>
              <a:buClrTx/>
              <a:buSzTx/>
              <a:buFontTx/>
              <a:buNone/>
              <a:tabLst/>
              <a:defRPr/>
            </a:pPr>
            <a:r>
              <a:rPr kumimoji="0" lang="en-CA" sz="1800" b="0" i="0" u="none" strike="noStrike" kern="1200" cap="none" spc="0" normalizeH="0" baseline="0" noProof="0" dirty="0">
                <a:ln>
                  <a:noFill/>
                </a:ln>
                <a:solidFill>
                  <a:srgbClr val="000000"/>
                </a:solidFill>
                <a:effectLst/>
                <a:uLnTx/>
                <a:uFillTx/>
                <a:latin typeface="Avenir Next LT Pro Demi" panose="020B0704020202020204" pitchFamily="34" charset="0"/>
                <a:ea typeface="+mn-ea"/>
                <a:cs typeface="+mn-cs"/>
              </a:rPr>
              <a:t>A shared, activity-based workplace is an inclusive workplace where everyone, regardless of job title, is empowered to self-select the work settings that best suit their various activities, needs and personal preferences throughout the day, at any time, on any day.</a:t>
            </a:r>
          </a:p>
        </p:txBody>
      </p:sp>
      <p:sp>
        <p:nvSpPr>
          <p:cNvPr id="4" name="Rectangle 3">
            <a:extLst>
              <a:ext uri="{FF2B5EF4-FFF2-40B4-BE49-F238E27FC236}">
                <a16:creationId xmlns:a16="http://schemas.microsoft.com/office/drawing/2014/main" id="{829FD096-C4F1-D143-8CB2-D0F373530E9B}"/>
              </a:ext>
            </a:extLst>
          </p:cNvPr>
          <p:cNvSpPr/>
          <p:nvPr/>
        </p:nvSpPr>
        <p:spPr>
          <a:xfrm>
            <a:off x="3886201" y="1032519"/>
            <a:ext cx="8305800" cy="468247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dirty="0">
              <a:ln>
                <a:noFill/>
              </a:ln>
              <a:solidFill>
                <a:srgbClr val="F1F2F2"/>
              </a:solidFill>
              <a:effectLst/>
              <a:uLnTx/>
              <a:uFillTx/>
              <a:latin typeface="Arial"/>
              <a:ea typeface="+mn-ea"/>
              <a:cs typeface="+mn-cs"/>
            </a:endParaRPr>
          </a:p>
        </p:txBody>
      </p:sp>
      <p:pic>
        <p:nvPicPr>
          <p:cNvPr id="5" name="Picture 4">
            <a:extLst>
              <a:ext uri="{FF2B5EF4-FFF2-40B4-BE49-F238E27FC236}">
                <a16:creationId xmlns:a16="http://schemas.microsoft.com/office/drawing/2014/main" id="{9635C6C3-84CD-8599-DDC3-9FD6EA8EBE3F}"/>
              </a:ext>
            </a:extLst>
          </p:cNvPr>
          <p:cNvPicPr>
            <a:picLocks noChangeAspect="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6354" t="3179" r="7332" b="3664"/>
          <a:stretch/>
        </p:blipFill>
        <p:spPr>
          <a:xfrm>
            <a:off x="7254735" y="1649772"/>
            <a:ext cx="4153588" cy="3464059"/>
          </a:xfrm>
          <a:prstGeom prst="rect">
            <a:avLst/>
          </a:prstGeom>
        </p:spPr>
      </p:pic>
      <p:pic>
        <p:nvPicPr>
          <p:cNvPr id="6" name="Graphic 5" descr="User with solid fill">
            <a:extLst>
              <a:ext uri="{FF2B5EF4-FFF2-40B4-BE49-F238E27FC236}">
                <a16:creationId xmlns:a16="http://schemas.microsoft.com/office/drawing/2014/main" id="{B7A1BF01-5729-A4CB-24A5-A74318C4B95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201858" y="2083821"/>
            <a:ext cx="1270599" cy="1270599"/>
          </a:xfrm>
          <a:prstGeom prst="rect">
            <a:avLst/>
          </a:prstGeom>
        </p:spPr>
      </p:pic>
      <p:pic>
        <p:nvPicPr>
          <p:cNvPr id="7" name="Graphic 6" descr="User with solid fill">
            <a:extLst>
              <a:ext uri="{FF2B5EF4-FFF2-40B4-BE49-F238E27FC236}">
                <a16:creationId xmlns:a16="http://schemas.microsoft.com/office/drawing/2014/main" id="{8AA39C5A-873A-9764-121D-D7354E078BA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359253" y="2664973"/>
            <a:ext cx="1270599" cy="1270599"/>
          </a:xfrm>
          <a:prstGeom prst="rect">
            <a:avLst/>
          </a:prstGeom>
        </p:spPr>
      </p:pic>
      <p:pic>
        <p:nvPicPr>
          <p:cNvPr id="8" name="Graphic 7" descr="User with solid fill">
            <a:extLst>
              <a:ext uri="{FF2B5EF4-FFF2-40B4-BE49-F238E27FC236}">
                <a16:creationId xmlns:a16="http://schemas.microsoft.com/office/drawing/2014/main" id="{C420A5DC-8AF9-D35D-9D7F-B45DB53A698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438468" y="3144915"/>
            <a:ext cx="1270599" cy="1270599"/>
          </a:xfrm>
          <a:prstGeom prst="rect">
            <a:avLst/>
          </a:prstGeom>
        </p:spPr>
      </p:pic>
      <p:sp>
        <p:nvSpPr>
          <p:cNvPr id="9" name="Rectangle 8">
            <a:extLst>
              <a:ext uri="{FF2B5EF4-FFF2-40B4-BE49-F238E27FC236}">
                <a16:creationId xmlns:a16="http://schemas.microsoft.com/office/drawing/2014/main" id="{84345ABC-7D3B-AED1-3653-8C73C3C17D8E}"/>
              </a:ext>
            </a:extLst>
          </p:cNvPr>
          <p:cNvSpPr/>
          <p:nvPr/>
        </p:nvSpPr>
        <p:spPr>
          <a:xfrm>
            <a:off x="7185891" y="1616364"/>
            <a:ext cx="4230254" cy="3546763"/>
          </a:xfrm>
          <a:prstGeom prst="rect">
            <a:avLst/>
          </a:prstGeom>
          <a:solidFill>
            <a:srgbClr val="FFFFFF">
              <a:alpha val="5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1F2F2"/>
              </a:solidFill>
              <a:effectLst/>
              <a:uLnTx/>
              <a:uFillTx/>
              <a:latin typeface="Arial"/>
              <a:ea typeface="+mn-ea"/>
              <a:cs typeface="+mn-cs"/>
            </a:endParaRPr>
          </a:p>
        </p:txBody>
      </p:sp>
      <p:sp>
        <p:nvSpPr>
          <p:cNvPr id="10" name="Freeform: Shape 9">
            <a:extLst>
              <a:ext uri="{FF2B5EF4-FFF2-40B4-BE49-F238E27FC236}">
                <a16:creationId xmlns:a16="http://schemas.microsoft.com/office/drawing/2014/main" id="{2334378D-E6ED-B070-461E-5199C081EFA0}"/>
              </a:ext>
            </a:extLst>
          </p:cNvPr>
          <p:cNvSpPr/>
          <p:nvPr/>
        </p:nvSpPr>
        <p:spPr>
          <a:xfrm>
            <a:off x="7524844" y="1855933"/>
            <a:ext cx="3357598" cy="2608001"/>
          </a:xfrm>
          <a:custGeom>
            <a:avLst/>
            <a:gdLst>
              <a:gd name="connsiteX0" fmla="*/ 789422 w 3357598"/>
              <a:gd name="connsiteY0" fmla="*/ 829733 h 2608001"/>
              <a:gd name="connsiteX1" fmla="*/ 831756 w 3357598"/>
              <a:gd name="connsiteY1" fmla="*/ 846667 h 2608001"/>
              <a:gd name="connsiteX2" fmla="*/ 857156 w 3357598"/>
              <a:gd name="connsiteY2" fmla="*/ 880533 h 2608001"/>
              <a:gd name="connsiteX3" fmla="*/ 891022 w 3357598"/>
              <a:gd name="connsiteY3" fmla="*/ 914400 h 2608001"/>
              <a:gd name="connsiteX4" fmla="*/ 933356 w 3357598"/>
              <a:gd name="connsiteY4" fmla="*/ 939800 h 2608001"/>
              <a:gd name="connsiteX5" fmla="*/ 984156 w 3357598"/>
              <a:gd name="connsiteY5" fmla="*/ 990600 h 2608001"/>
              <a:gd name="connsiteX6" fmla="*/ 1026489 w 3357598"/>
              <a:gd name="connsiteY6" fmla="*/ 1049867 h 2608001"/>
              <a:gd name="connsiteX7" fmla="*/ 1068822 w 3357598"/>
              <a:gd name="connsiteY7" fmla="*/ 1109133 h 2608001"/>
              <a:gd name="connsiteX8" fmla="*/ 1111156 w 3357598"/>
              <a:gd name="connsiteY8" fmla="*/ 1126067 h 2608001"/>
              <a:gd name="connsiteX9" fmla="*/ 1170422 w 3357598"/>
              <a:gd name="connsiteY9" fmla="*/ 1151467 h 2608001"/>
              <a:gd name="connsiteX10" fmla="*/ 1441356 w 3357598"/>
              <a:gd name="connsiteY10" fmla="*/ 1134533 h 2608001"/>
              <a:gd name="connsiteX11" fmla="*/ 1449822 w 3357598"/>
              <a:gd name="connsiteY11" fmla="*/ 1109133 h 2608001"/>
              <a:gd name="connsiteX12" fmla="*/ 1509089 w 3357598"/>
              <a:gd name="connsiteY12" fmla="*/ 1168400 h 2608001"/>
              <a:gd name="connsiteX13" fmla="*/ 1559889 w 3357598"/>
              <a:gd name="connsiteY13" fmla="*/ 1202267 h 2608001"/>
              <a:gd name="connsiteX14" fmla="*/ 1636089 w 3357598"/>
              <a:gd name="connsiteY14" fmla="*/ 1253067 h 2608001"/>
              <a:gd name="connsiteX15" fmla="*/ 1720756 w 3357598"/>
              <a:gd name="connsiteY15" fmla="*/ 1286933 h 2608001"/>
              <a:gd name="connsiteX16" fmla="*/ 1771556 w 3357598"/>
              <a:gd name="connsiteY16" fmla="*/ 1312333 h 2608001"/>
              <a:gd name="connsiteX17" fmla="*/ 1839289 w 3357598"/>
              <a:gd name="connsiteY17" fmla="*/ 1337733 h 2608001"/>
              <a:gd name="connsiteX18" fmla="*/ 1873156 w 3357598"/>
              <a:gd name="connsiteY18" fmla="*/ 1354667 h 2608001"/>
              <a:gd name="connsiteX19" fmla="*/ 1923956 w 3357598"/>
              <a:gd name="connsiteY19" fmla="*/ 1363133 h 2608001"/>
              <a:gd name="connsiteX20" fmla="*/ 2101756 w 3357598"/>
              <a:gd name="connsiteY20" fmla="*/ 1371600 h 2608001"/>
              <a:gd name="connsiteX21" fmla="*/ 2161022 w 3357598"/>
              <a:gd name="connsiteY21" fmla="*/ 1405467 h 2608001"/>
              <a:gd name="connsiteX22" fmla="*/ 2194889 w 3357598"/>
              <a:gd name="connsiteY22" fmla="*/ 1439333 h 2608001"/>
              <a:gd name="connsiteX23" fmla="*/ 2203356 w 3357598"/>
              <a:gd name="connsiteY23" fmla="*/ 1473200 h 2608001"/>
              <a:gd name="connsiteX24" fmla="*/ 2194889 w 3357598"/>
              <a:gd name="connsiteY24" fmla="*/ 1447800 h 2608001"/>
              <a:gd name="connsiteX25" fmla="*/ 2254156 w 3357598"/>
              <a:gd name="connsiteY25" fmla="*/ 1371600 h 2608001"/>
              <a:gd name="connsiteX26" fmla="*/ 2271089 w 3357598"/>
              <a:gd name="connsiteY26" fmla="*/ 1346200 h 2608001"/>
              <a:gd name="connsiteX27" fmla="*/ 2296489 w 3357598"/>
              <a:gd name="connsiteY27" fmla="*/ 1329267 h 2608001"/>
              <a:gd name="connsiteX28" fmla="*/ 2355756 w 3357598"/>
              <a:gd name="connsiteY28" fmla="*/ 1286933 h 2608001"/>
              <a:gd name="connsiteX29" fmla="*/ 2465822 w 3357598"/>
              <a:gd name="connsiteY29" fmla="*/ 1253067 h 2608001"/>
              <a:gd name="connsiteX30" fmla="*/ 2482756 w 3357598"/>
              <a:gd name="connsiteY30" fmla="*/ 1236133 h 2608001"/>
              <a:gd name="connsiteX31" fmla="*/ 2652089 w 3357598"/>
              <a:gd name="connsiteY31" fmla="*/ 1219200 h 2608001"/>
              <a:gd name="connsiteX32" fmla="*/ 3143156 w 3357598"/>
              <a:gd name="connsiteY32" fmla="*/ 1227667 h 2608001"/>
              <a:gd name="connsiteX33" fmla="*/ 3219356 w 3357598"/>
              <a:gd name="connsiteY33" fmla="*/ 1236133 h 2608001"/>
              <a:gd name="connsiteX34" fmla="*/ 3312489 w 3357598"/>
              <a:gd name="connsiteY34" fmla="*/ 1244600 h 2608001"/>
              <a:gd name="connsiteX35" fmla="*/ 3354822 w 3357598"/>
              <a:gd name="connsiteY35" fmla="*/ 1253067 h 2608001"/>
              <a:gd name="connsiteX36" fmla="*/ 3185489 w 3357598"/>
              <a:gd name="connsiteY36" fmla="*/ 1210733 h 2608001"/>
              <a:gd name="connsiteX37" fmla="*/ 3109289 w 3357598"/>
              <a:gd name="connsiteY37" fmla="*/ 1193800 h 2608001"/>
              <a:gd name="connsiteX38" fmla="*/ 2982289 w 3357598"/>
              <a:gd name="connsiteY38" fmla="*/ 1176867 h 2608001"/>
              <a:gd name="connsiteX39" fmla="*/ 2863756 w 3357598"/>
              <a:gd name="connsiteY39" fmla="*/ 1126067 h 2608001"/>
              <a:gd name="connsiteX40" fmla="*/ 2787556 w 3357598"/>
              <a:gd name="connsiteY40" fmla="*/ 1092200 h 2608001"/>
              <a:gd name="connsiteX41" fmla="*/ 2753689 w 3357598"/>
              <a:gd name="connsiteY41" fmla="*/ 1058333 h 2608001"/>
              <a:gd name="connsiteX42" fmla="*/ 2719822 w 3357598"/>
              <a:gd name="connsiteY42" fmla="*/ 1032933 h 2608001"/>
              <a:gd name="connsiteX43" fmla="*/ 2694422 w 3357598"/>
              <a:gd name="connsiteY43" fmla="*/ 999067 h 2608001"/>
              <a:gd name="connsiteX44" fmla="*/ 2652089 w 3357598"/>
              <a:gd name="connsiteY44" fmla="*/ 922867 h 2608001"/>
              <a:gd name="connsiteX45" fmla="*/ 2635156 w 3357598"/>
              <a:gd name="connsiteY45" fmla="*/ 829733 h 2608001"/>
              <a:gd name="connsiteX46" fmla="*/ 2652089 w 3357598"/>
              <a:gd name="connsiteY46" fmla="*/ 567267 h 2608001"/>
              <a:gd name="connsiteX47" fmla="*/ 2677489 w 3357598"/>
              <a:gd name="connsiteY47" fmla="*/ 516467 h 2608001"/>
              <a:gd name="connsiteX48" fmla="*/ 2745222 w 3357598"/>
              <a:gd name="connsiteY48" fmla="*/ 381000 h 2608001"/>
              <a:gd name="connsiteX49" fmla="*/ 2745222 w 3357598"/>
              <a:gd name="connsiteY49" fmla="*/ 381000 h 2608001"/>
              <a:gd name="connsiteX50" fmla="*/ 2787556 w 3357598"/>
              <a:gd name="connsiteY50" fmla="*/ 313267 h 2608001"/>
              <a:gd name="connsiteX51" fmla="*/ 2821422 w 3357598"/>
              <a:gd name="connsiteY51" fmla="*/ 262467 h 2608001"/>
              <a:gd name="connsiteX52" fmla="*/ 2872222 w 3357598"/>
              <a:gd name="connsiteY52" fmla="*/ 228600 h 2608001"/>
              <a:gd name="connsiteX53" fmla="*/ 2948422 w 3357598"/>
              <a:gd name="connsiteY53" fmla="*/ 169333 h 2608001"/>
              <a:gd name="connsiteX54" fmla="*/ 2999222 w 3357598"/>
              <a:gd name="connsiteY54" fmla="*/ 127000 h 2608001"/>
              <a:gd name="connsiteX55" fmla="*/ 2973822 w 3357598"/>
              <a:gd name="connsiteY55" fmla="*/ 110067 h 2608001"/>
              <a:gd name="connsiteX56" fmla="*/ 2956889 w 3357598"/>
              <a:gd name="connsiteY56" fmla="*/ 135467 h 2608001"/>
              <a:gd name="connsiteX57" fmla="*/ 2931489 w 3357598"/>
              <a:gd name="connsiteY57" fmla="*/ 152400 h 2608001"/>
              <a:gd name="connsiteX58" fmla="*/ 2846822 w 3357598"/>
              <a:gd name="connsiteY58" fmla="*/ 169333 h 2608001"/>
              <a:gd name="connsiteX59" fmla="*/ 2635156 w 3357598"/>
              <a:gd name="connsiteY59" fmla="*/ 160867 h 2608001"/>
              <a:gd name="connsiteX60" fmla="*/ 2609756 w 3357598"/>
              <a:gd name="connsiteY60" fmla="*/ 143933 h 2608001"/>
              <a:gd name="connsiteX61" fmla="*/ 2575889 w 3357598"/>
              <a:gd name="connsiteY61" fmla="*/ 135467 h 2608001"/>
              <a:gd name="connsiteX62" fmla="*/ 2516622 w 3357598"/>
              <a:gd name="connsiteY62" fmla="*/ 101600 h 2608001"/>
              <a:gd name="connsiteX63" fmla="*/ 2406556 w 3357598"/>
              <a:gd name="connsiteY63" fmla="*/ 67733 h 2608001"/>
              <a:gd name="connsiteX64" fmla="*/ 2347289 w 3357598"/>
              <a:gd name="connsiteY64" fmla="*/ 59267 h 2608001"/>
              <a:gd name="connsiteX65" fmla="*/ 2271089 w 3357598"/>
              <a:gd name="connsiteY65" fmla="*/ 42333 h 2608001"/>
              <a:gd name="connsiteX66" fmla="*/ 2211822 w 3357598"/>
              <a:gd name="connsiteY66" fmla="*/ 25400 h 2608001"/>
              <a:gd name="connsiteX67" fmla="*/ 2000156 w 3357598"/>
              <a:gd name="connsiteY67" fmla="*/ 8467 h 2608001"/>
              <a:gd name="connsiteX68" fmla="*/ 1915489 w 3357598"/>
              <a:gd name="connsiteY68" fmla="*/ 0 h 2608001"/>
              <a:gd name="connsiteX69" fmla="*/ 1534489 w 3357598"/>
              <a:gd name="connsiteY69" fmla="*/ 25400 h 2608001"/>
              <a:gd name="connsiteX70" fmla="*/ 1492156 w 3357598"/>
              <a:gd name="connsiteY70" fmla="*/ 33867 h 2608001"/>
              <a:gd name="connsiteX71" fmla="*/ 1441356 w 3357598"/>
              <a:gd name="connsiteY71" fmla="*/ 50800 h 2608001"/>
              <a:gd name="connsiteX72" fmla="*/ 1407489 w 3357598"/>
              <a:gd name="connsiteY72" fmla="*/ 59267 h 2608001"/>
              <a:gd name="connsiteX73" fmla="*/ 1356689 w 3357598"/>
              <a:gd name="connsiteY73" fmla="*/ 84667 h 2608001"/>
              <a:gd name="connsiteX74" fmla="*/ 1263556 w 3357598"/>
              <a:gd name="connsiteY74" fmla="*/ 118533 h 2608001"/>
              <a:gd name="connsiteX75" fmla="*/ 1170422 w 3357598"/>
              <a:gd name="connsiteY75" fmla="*/ 160867 h 2608001"/>
              <a:gd name="connsiteX76" fmla="*/ 1102689 w 3357598"/>
              <a:gd name="connsiteY76" fmla="*/ 186267 h 2608001"/>
              <a:gd name="connsiteX77" fmla="*/ 924889 w 3357598"/>
              <a:gd name="connsiteY77" fmla="*/ 279400 h 2608001"/>
              <a:gd name="connsiteX78" fmla="*/ 840222 w 3357598"/>
              <a:gd name="connsiteY78" fmla="*/ 313267 h 2608001"/>
              <a:gd name="connsiteX79" fmla="*/ 772489 w 3357598"/>
              <a:gd name="connsiteY79" fmla="*/ 355600 h 2608001"/>
              <a:gd name="connsiteX80" fmla="*/ 696289 w 3357598"/>
              <a:gd name="connsiteY80" fmla="*/ 381000 h 2608001"/>
              <a:gd name="connsiteX81" fmla="*/ 653956 w 3357598"/>
              <a:gd name="connsiteY81" fmla="*/ 397933 h 2608001"/>
              <a:gd name="connsiteX82" fmla="*/ 620089 w 3357598"/>
              <a:gd name="connsiteY82" fmla="*/ 414867 h 2608001"/>
              <a:gd name="connsiteX83" fmla="*/ 586222 w 3357598"/>
              <a:gd name="connsiteY83" fmla="*/ 423333 h 2608001"/>
              <a:gd name="connsiteX84" fmla="*/ 493089 w 3357598"/>
              <a:gd name="connsiteY84" fmla="*/ 440267 h 2608001"/>
              <a:gd name="connsiteX85" fmla="*/ 425356 w 3357598"/>
              <a:gd name="connsiteY85" fmla="*/ 457200 h 2608001"/>
              <a:gd name="connsiteX86" fmla="*/ 306822 w 3357598"/>
              <a:gd name="connsiteY86" fmla="*/ 499533 h 2608001"/>
              <a:gd name="connsiteX87" fmla="*/ 272956 w 3357598"/>
              <a:gd name="connsiteY87" fmla="*/ 524933 h 2608001"/>
              <a:gd name="connsiteX88" fmla="*/ 247556 w 3357598"/>
              <a:gd name="connsiteY88" fmla="*/ 533400 h 2608001"/>
              <a:gd name="connsiteX89" fmla="*/ 179822 w 3357598"/>
              <a:gd name="connsiteY89" fmla="*/ 584200 h 2608001"/>
              <a:gd name="connsiteX90" fmla="*/ 171356 w 3357598"/>
              <a:gd name="connsiteY90" fmla="*/ 609600 h 2608001"/>
              <a:gd name="connsiteX91" fmla="*/ 145956 w 3357598"/>
              <a:gd name="connsiteY91" fmla="*/ 643467 h 2608001"/>
              <a:gd name="connsiteX92" fmla="*/ 137489 w 3357598"/>
              <a:gd name="connsiteY92" fmla="*/ 685800 h 2608001"/>
              <a:gd name="connsiteX93" fmla="*/ 120556 w 3357598"/>
              <a:gd name="connsiteY93" fmla="*/ 728133 h 2608001"/>
              <a:gd name="connsiteX94" fmla="*/ 103622 w 3357598"/>
              <a:gd name="connsiteY94" fmla="*/ 804333 h 2608001"/>
              <a:gd name="connsiteX95" fmla="*/ 86689 w 3357598"/>
              <a:gd name="connsiteY95" fmla="*/ 1210733 h 2608001"/>
              <a:gd name="connsiteX96" fmla="*/ 69756 w 3357598"/>
              <a:gd name="connsiteY96" fmla="*/ 1227667 h 2608001"/>
              <a:gd name="connsiteX97" fmla="*/ 27422 w 3357598"/>
              <a:gd name="connsiteY97" fmla="*/ 1261533 h 2608001"/>
              <a:gd name="connsiteX98" fmla="*/ 2022 w 3357598"/>
              <a:gd name="connsiteY98" fmla="*/ 1278467 h 2608001"/>
              <a:gd name="connsiteX99" fmla="*/ 95156 w 3357598"/>
              <a:gd name="connsiteY99" fmla="*/ 1236133 h 2608001"/>
              <a:gd name="connsiteX100" fmla="*/ 129022 w 3357598"/>
              <a:gd name="connsiteY100" fmla="*/ 1202267 h 2608001"/>
              <a:gd name="connsiteX101" fmla="*/ 171356 w 3357598"/>
              <a:gd name="connsiteY101" fmla="*/ 1168400 h 2608001"/>
              <a:gd name="connsiteX102" fmla="*/ 222156 w 3357598"/>
              <a:gd name="connsiteY102" fmla="*/ 1092200 h 2608001"/>
              <a:gd name="connsiteX103" fmla="*/ 239089 w 3357598"/>
              <a:gd name="connsiteY103" fmla="*/ 1066800 h 2608001"/>
              <a:gd name="connsiteX104" fmla="*/ 264489 w 3357598"/>
              <a:gd name="connsiteY104" fmla="*/ 1007533 h 2608001"/>
              <a:gd name="connsiteX105" fmla="*/ 289889 w 3357598"/>
              <a:gd name="connsiteY105" fmla="*/ 922867 h 2608001"/>
              <a:gd name="connsiteX106" fmla="*/ 306822 w 3357598"/>
              <a:gd name="connsiteY106" fmla="*/ 812800 h 2608001"/>
              <a:gd name="connsiteX107" fmla="*/ 332222 w 3357598"/>
              <a:gd name="connsiteY107" fmla="*/ 736600 h 2608001"/>
              <a:gd name="connsiteX108" fmla="*/ 340689 w 3357598"/>
              <a:gd name="connsiteY108" fmla="*/ 711200 h 2608001"/>
              <a:gd name="connsiteX109" fmla="*/ 349156 w 3357598"/>
              <a:gd name="connsiteY109" fmla="*/ 685800 h 2608001"/>
              <a:gd name="connsiteX110" fmla="*/ 383022 w 3357598"/>
              <a:gd name="connsiteY110" fmla="*/ 651933 h 2608001"/>
              <a:gd name="connsiteX111" fmla="*/ 399956 w 3357598"/>
              <a:gd name="connsiteY111" fmla="*/ 618067 h 2608001"/>
              <a:gd name="connsiteX112" fmla="*/ 459222 w 3357598"/>
              <a:gd name="connsiteY112" fmla="*/ 541867 h 2608001"/>
              <a:gd name="connsiteX113" fmla="*/ 510022 w 3357598"/>
              <a:gd name="connsiteY113" fmla="*/ 516467 h 2608001"/>
              <a:gd name="connsiteX114" fmla="*/ 569289 w 3357598"/>
              <a:gd name="connsiteY114" fmla="*/ 499533 h 2608001"/>
              <a:gd name="connsiteX115" fmla="*/ 814822 w 3357598"/>
              <a:gd name="connsiteY115" fmla="*/ 516467 h 2608001"/>
              <a:gd name="connsiteX116" fmla="*/ 857156 w 3357598"/>
              <a:gd name="connsiteY116" fmla="*/ 541867 h 2608001"/>
              <a:gd name="connsiteX117" fmla="*/ 907956 w 3357598"/>
              <a:gd name="connsiteY117" fmla="*/ 550333 h 2608001"/>
              <a:gd name="connsiteX118" fmla="*/ 958756 w 3357598"/>
              <a:gd name="connsiteY118" fmla="*/ 601133 h 2608001"/>
              <a:gd name="connsiteX119" fmla="*/ 984156 w 3357598"/>
              <a:gd name="connsiteY119" fmla="*/ 618067 h 2608001"/>
              <a:gd name="connsiteX120" fmla="*/ 992622 w 3357598"/>
              <a:gd name="connsiteY120" fmla="*/ 668867 h 2608001"/>
              <a:gd name="connsiteX121" fmla="*/ 1001089 w 3357598"/>
              <a:gd name="connsiteY121" fmla="*/ 778933 h 2608001"/>
              <a:gd name="connsiteX122" fmla="*/ 1009556 w 3357598"/>
              <a:gd name="connsiteY122" fmla="*/ 855133 h 2608001"/>
              <a:gd name="connsiteX123" fmla="*/ 1026489 w 3357598"/>
              <a:gd name="connsiteY123" fmla="*/ 1354667 h 2608001"/>
              <a:gd name="connsiteX124" fmla="*/ 1034956 w 3357598"/>
              <a:gd name="connsiteY124" fmla="*/ 1397000 h 2608001"/>
              <a:gd name="connsiteX125" fmla="*/ 1043422 w 3357598"/>
              <a:gd name="connsiteY125" fmla="*/ 1447800 h 2608001"/>
              <a:gd name="connsiteX126" fmla="*/ 1068822 w 3357598"/>
              <a:gd name="connsiteY126" fmla="*/ 1549400 h 2608001"/>
              <a:gd name="connsiteX127" fmla="*/ 1094222 w 3357598"/>
              <a:gd name="connsiteY127" fmla="*/ 1752600 h 2608001"/>
              <a:gd name="connsiteX128" fmla="*/ 1111156 w 3357598"/>
              <a:gd name="connsiteY128" fmla="*/ 1888067 h 2608001"/>
              <a:gd name="connsiteX129" fmla="*/ 1119622 w 3357598"/>
              <a:gd name="connsiteY129" fmla="*/ 2074333 h 2608001"/>
              <a:gd name="connsiteX130" fmla="*/ 1128089 w 3357598"/>
              <a:gd name="connsiteY130" fmla="*/ 2116667 h 2608001"/>
              <a:gd name="connsiteX131" fmla="*/ 1136556 w 3357598"/>
              <a:gd name="connsiteY131" fmla="*/ 2167467 h 2608001"/>
              <a:gd name="connsiteX132" fmla="*/ 1119622 w 3357598"/>
              <a:gd name="connsiteY132" fmla="*/ 2370667 h 2608001"/>
              <a:gd name="connsiteX133" fmla="*/ 1094222 w 3357598"/>
              <a:gd name="connsiteY133" fmla="*/ 2455333 h 2608001"/>
              <a:gd name="connsiteX134" fmla="*/ 1060356 w 3357598"/>
              <a:gd name="connsiteY134" fmla="*/ 2497667 h 2608001"/>
              <a:gd name="connsiteX135" fmla="*/ 933356 w 3357598"/>
              <a:gd name="connsiteY135" fmla="*/ 2607733 h 2608001"/>
              <a:gd name="connsiteX136" fmla="*/ 1001089 w 3357598"/>
              <a:gd name="connsiteY136" fmla="*/ 2573867 h 2608001"/>
              <a:gd name="connsiteX137" fmla="*/ 1026489 w 3357598"/>
              <a:gd name="connsiteY137" fmla="*/ 2565400 h 2608001"/>
              <a:gd name="connsiteX138" fmla="*/ 1128089 w 3357598"/>
              <a:gd name="connsiteY138" fmla="*/ 2523067 h 2608001"/>
              <a:gd name="connsiteX139" fmla="*/ 1331289 w 3357598"/>
              <a:gd name="connsiteY139" fmla="*/ 2489200 h 2608001"/>
              <a:gd name="connsiteX140" fmla="*/ 1424422 w 3357598"/>
              <a:gd name="connsiteY140" fmla="*/ 2463800 h 2608001"/>
              <a:gd name="connsiteX141" fmla="*/ 1492156 w 3357598"/>
              <a:gd name="connsiteY141" fmla="*/ 2446867 h 2608001"/>
              <a:gd name="connsiteX142" fmla="*/ 1534489 w 3357598"/>
              <a:gd name="connsiteY142" fmla="*/ 2438400 h 2608001"/>
              <a:gd name="connsiteX143" fmla="*/ 1627622 w 3357598"/>
              <a:gd name="connsiteY143" fmla="*/ 2413000 h 2608001"/>
              <a:gd name="connsiteX144" fmla="*/ 1661489 w 3357598"/>
              <a:gd name="connsiteY144" fmla="*/ 2404533 h 2608001"/>
              <a:gd name="connsiteX145" fmla="*/ 1686889 w 3357598"/>
              <a:gd name="connsiteY145" fmla="*/ 2396067 h 2608001"/>
              <a:gd name="connsiteX146" fmla="*/ 1805422 w 3357598"/>
              <a:gd name="connsiteY146" fmla="*/ 2370667 h 2608001"/>
              <a:gd name="connsiteX147" fmla="*/ 1873156 w 3357598"/>
              <a:gd name="connsiteY147" fmla="*/ 2345267 h 2608001"/>
              <a:gd name="connsiteX148" fmla="*/ 1940889 w 3357598"/>
              <a:gd name="connsiteY148" fmla="*/ 2286000 h 2608001"/>
              <a:gd name="connsiteX149" fmla="*/ 1949356 w 3357598"/>
              <a:gd name="connsiteY149" fmla="*/ 2243667 h 2608001"/>
              <a:gd name="connsiteX150" fmla="*/ 1957822 w 3357598"/>
              <a:gd name="connsiteY150" fmla="*/ 2159000 h 2608001"/>
              <a:gd name="connsiteX151" fmla="*/ 1966289 w 3357598"/>
              <a:gd name="connsiteY151" fmla="*/ 2184400 h 2608001"/>
              <a:gd name="connsiteX152" fmla="*/ 1983222 w 3357598"/>
              <a:gd name="connsiteY152" fmla="*/ 2252133 h 2608001"/>
              <a:gd name="connsiteX153" fmla="*/ 2000156 w 3357598"/>
              <a:gd name="connsiteY153" fmla="*/ 2328333 h 2608001"/>
              <a:gd name="connsiteX154" fmla="*/ 2034022 w 3357598"/>
              <a:gd name="connsiteY154" fmla="*/ 2396067 h 2608001"/>
              <a:gd name="connsiteX155" fmla="*/ 2076356 w 3357598"/>
              <a:gd name="connsiteY155" fmla="*/ 2421467 h 2608001"/>
              <a:gd name="connsiteX156" fmla="*/ 2110222 w 3357598"/>
              <a:gd name="connsiteY156" fmla="*/ 2429933 h 2608001"/>
              <a:gd name="connsiteX157" fmla="*/ 2161022 w 3357598"/>
              <a:gd name="connsiteY157" fmla="*/ 2446867 h 2608001"/>
              <a:gd name="connsiteX158" fmla="*/ 2465822 w 3357598"/>
              <a:gd name="connsiteY158" fmla="*/ 2438400 h 2608001"/>
              <a:gd name="connsiteX159" fmla="*/ 2491222 w 3357598"/>
              <a:gd name="connsiteY159" fmla="*/ 2421467 h 2608001"/>
              <a:gd name="connsiteX160" fmla="*/ 2516622 w 3357598"/>
              <a:gd name="connsiteY160" fmla="*/ 2413000 h 2608001"/>
              <a:gd name="connsiteX161" fmla="*/ 2558956 w 3357598"/>
              <a:gd name="connsiteY161" fmla="*/ 2345267 h 2608001"/>
              <a:gd name="connsiteX162" fmla="*/ 2550489 w 3357598"/>
              <a:gd name="connsiteY162" fmla="*/ 1837267 h 2608001"/>
              <a:gd name="connsiteX163" fmla="*/ 2533556 w 3357598"/>
              <a:gd name="connsiteY163" fmla="*/ 1811867 h 2608001"/>
              <a:gd name="connsiteX164" fmla="*/ 2491222 w 3357598"/>
              <a:gd name="connsiteY164" fmla="*/ 1769533 h 2608001"/>
              <a:gd name="connsiteX165" fmla="*/ 2338822 w 3357598"/>
              <a:gd name="connsiteY165" fmla="*/ 1752600 h 2608001"/>
              <a:gd name="connsiteX166" fmla="*/ 2347289 w 3357598"/>
              <a:gd name="connsiteY166" fmla="*/ 1735667 h 2608001"/>
              <a:gd name="connsiteX167" fmla="*/ 2406556 w 3357598"/>
              <a:gd name="connsiteY167" fmla="*/ 1718733 h 2608001"/>
              <a:gd name="connsiteX168" fmla="*/ 2431956 w 3357598"/>
              <a:gd name="connsiteY168" fmla="*/ 1701800 h 2608001"/>
              <a:gd name="connsiteX169" fmla="*/ 2542022 w 3357598"/>
              <a:gd name="connsiteY169" fmla="*/ 1625600 h 2608001"/>
              <a:gd name="connsiteX170" fmla="*/ 2558956 w 3357598"/>
              <a:gd name="connsiteY170" fmla="*/ 1600200 h 2608001"/>
              <a:gd name="connsiteX171" fmla="*/ 2558956 w 3357598"/>
              <a:gd name="connsiteY171" fmla="*/ 1532467 h 2608001"/>
              <a:gd name="connsiteX172" fmla="*/ 2550489 w 3357598"/>
              <a:gd name="connsiteY172" fmla="*/ 1481667 h 2608001"/>
              <a:gd name="connsiteX173" fmla="*/ 2525089 w 3357598"/>
              <a:gd name="connsiteY173" fmla="*/ 1456267 h 2608001"/>
              <a:gd name="connsiteX174" fmla="*/ 2508156 w 3357598"/>
              <a:gd name="connsiteY174" fmla="*/ 1413933 h 2608001"/>
              <a:gd name="connsiteX175" fmla="*/ 2482756 w 3357598"/>
              <a:gd name="connsiteY175" fmla="*/ 1397000 h 2608001"/>
              <a:gd name="connsiteX176" fmla="*/ 2431956 w 3357598"/>
              <a:gd name="connsiteY176" fmla="*/ 1363133 h 2608001"/>
              <a:gd name="connsiteX177" fmla="*/ 2262622 w 3357598"/>
              <a:gd name="connsiteY177" fmla="*/ 1371600 h 2608001"/>
              <a:gd name="connsiteX178" fmla="*/ 2220289 w 3357598"/>
              <a:gd name="connsiteY178" fmla="*/ 1397000 h 2608001"/>
              <a:gd name="connsiteX179" fmla="*/ 2194889 w 3357598"/>
              <a:gd name="connsiteY179" fmla="*/ 1405467 h 2608001"/>
              <a:gd name="connsiteX180" fmla="*/ 2152556 w 3357598"/>
              <a:gd name="connsiteY180" fmla="*/ 1456267 h 2608001"/>
              <a:gd name="connsiteX181" fmla="*/ 2135622 w 3357598"/>
              <a:gd name="connsiteY181" fmla="*/ 1473200 h 2608001"/>
              <a:gd name="connsiteX182" fmla="*/ 2084822 w 3357598"/>
              <a:gd name="connsiteY182" fmla="*/ 1447800 h 2608001"/>
              <a:gd name="connsiteX183" fmla="*/ 1966289 w 3357598"/>
              <a:gd name="connsiteY183" fmla="*/ 1405467 h 2608001"/>
              <a:gd name="connsiteX184" fmla="*/ 1940889 w 3357598"/>
              <a:gd name="connsiteY184" fmla="*/ 1388533 h 2608001"/>
              <a:gd name="connsiteX185" fmla="*/ 1830822 w 3357598"/>
              <a:gd name="connsiteY185" fmla="*/ 1337733 h 2608001"/>
              <a:gd name="connsiteX186" fmla="*/ 1763089 w 3357598"/>
              <a:gd name="connsiteY186" fmla="*/ 1303867 h 2608001"/>
              <a:gd name="connsiteX187" fmla="*/ 1720756 w 3357598"/>
              <a:gd name="connsiteY187" fmla="*/ 1286933 h 2608001"/>
              <a:gd name="connsiteX188" fmla="*/ 1602222 w 3357598"/>
              <a:gd name="connsiteY188" fmla="*/ 1227667 h 2608001"/>
              <a:gd name="connsiteX189" fmla="*/ 1534489 w 3357598"/>
              <a:gd name="connsiteY189" fmla="*/ 1193800 h 2608001"/>
              <a:gd name="connsiteX190" fmla="*/ 1466756 w 3357598"/>
              <a:gd name="connsiteY190" fmla="*/ 1159933 h 2608001"/>
              <a:gd name="connsiteX191" fmla="*/ 1432889 w 3357598"/>
              <a:gd name="connsiteY191" fmla="*/ 1134533 h 260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Lst>
            <a:rect l="l" t="t" r="r" b="b"/>
            <a:pathLst>
              <a:path w="3357598" h="2608001">
                <a:moveTo>
                  <a:pt x="789422" y="829733"/>
                </a:moveTo>
                <a:cubicBezTo>
                  <a:pt x="803533" y="835378"/>
                  <a:pt x="819597" y="837548"/>
                  <a:pt x="831756" y="846667"/>
                </a:cubicBezTo>
                <a:cubicBezTo>
                  <a:pt x="843045" y="855134"/>
                  <a:pt x="847864" y="869913"/>
                  <a:pt x="857156" y="880533"/>
                </a:cubicBezTo>
                <a:cubicBezTo>
                  <a:pt x="867669" y="892548"/>
                  <a:pt x="878420" y="904599"/>
                  <a:pt x="891022" y="914400"/>
                </a:cubicBezTo>
                <a:cubicBezTo>
                  <a:pt x="904012" y="924503"/>
                  <a:pt x="920619" y="929379"/>
                  <a:pt x="933356" y="939800"/>
                </a:cubicBezTo>
                <a:cubicBezTo>
                  <a:pt x="951890" y="954964"/>
                  <a:pt x="984156" y="990600"/>
                  <a:pt x="984156" y="990600"/>
                </a:cubicBezTo>
                <a:cubicBezTo>
                  <a:pt x="1030562" y="1083414"/>
                  <a:pt x="969284" y="969780"/>
                  <a:pt x="1026489" y="1049867"/>
                </a:cubicBezTo>
                <a:cubicBezTo>
                  <a:pt x="1048525" y="1080718"/>
                  <a:pt x="1034736" y="1087829"/>
                  <a:pt x="1068822" y="1109133"/>
                </a:cubicBezTo>
                <a:cubicBezTo>
                  <a:pt x="1081710" y="1117188"/>
                  <a:pt x="1097268" y="1119894"/>
                  <a:pt x="1111156" y="1126067"/>
                </a:cubicBezTo>
                <a:cubicBezTo>
                  <a:pt x="1173929" y="1153966"/>
                  <a:pt x="1118253" y="1134077"/>
                  <a:pt x="1170422" y="1151467"/>
                </a:cubicBezTo>
                <a:cubicBezTo>
                  <a:pt x="1260733" y="1145822"/>
                  <a:pt x="1351890" y="1148089"/>
                  <a:pt x="1441356" y="1134533"/>
                </a:cubicBezTo>
                <a:cubicBezTo>
                  <a:pt x="1450180" y="1133196"/>
                  <a:pt x="1440897" y="1109133"/>
                  <a:pt x="1449822" y="1109133"/>
                </a:cubicBezTo>
                <a:cubicBezTo>
                  <a:pt x="1473812" y="1109133"/>
                  <a:pt x="1496389" y="1157111"/>
                  <a:pt x="1509089" y="1168400"/>
                </a:cubicBezTo>
                <a:cubicBezTo>
                  <a:pt x="1524300" y="1181921"/>
                  <a:pt x="1543216" y="1190596"/>
                  <a:pt x="1559889" y="1202267"/>
                </a:cubicBezTo>
                <a:cubicBezTo>
                  <a:pt x="1595338" y="1227081"/>
                  <a:pt x="1595164" y="1232605"/>
                  <a:pt x="1636089" y="1253067"/>
                </a:cubicBezTo>
                <a:cubicBezTo>
                  <a:pt x="1837383" y="1353714"/>
                  <a:pt x="1619399" y="1241886"/>
                  <a:pt x="1720756" y="1286933"/>
                </a:cubicBezTo>
                <a:cubicBezTo>
                  <a:pt x="1738056" y="1294622"/>
                  <a:pt x="1754155" y="1304875"/>
                  <a:pt x="1771556" y="1312333"/>
                </a:cubicBezTo>
                <a:cubicBezTo>
                  <a:pt x="1793719" y="1321832"/>
                  <a:pt x="1817031" y="1328459"/>
                  <a:pt x="1839289" y="1337733"/>
                </a:cubicBezTo>
                <a:cubicBezTo>
                  <a:pt x="1850940" y="1342588"/>
                  <a:pt x="1861067" y="1351040"/>
                  <a:pt x="1873156" y="1354667"/>
                </a:cubicBezTo>
                <a:cubicBezTo>
                  <a:pt x="1889599" y="1359600"/>
                  <a:pt x="1906836" y="1361865"/>
                  <a:pt x="1923956" y="1363133"/>
                </a:cubicBezTo>
                <a:cubicBezTo>
                  <a:pt x="1983128" y="1367516"/>
                  <a:pt x="2042489" y="1368778"/>
                  <a:pt x="2101756" y="1371600"/>
                </a:cubicBezTo>
                <a:cubicBezTo>
                  <a:pt x="2120978" y="1381211"/>
                  <a:pt x="2144265" y="1391104"/>
                  <a:pt x="2161022" y="1405467"/>
                </a:cubicBezTo>
                <a:cubicBezTo>
                  <a:pt x="2173143" y="1415857"/>
                  <a:pt x="2183600" y="1428044"/>
                  <a:pt x="2194889" y="1439333"/>
                </a:cubicBezTo>
                <a:cubicBezTo>
                  <a:pt x="2197711" y="1450622"/>
                  <a:pt x="2203356" y="1461564"/>
                  <a:pt x="2203356" y="1473200"/>
                </a:cubicBezTo>
                <a:cubicBezTo>
                  <a:pt x="2203356" y="1482125"/>
                  <a:pt x="2190898" y="1455782"/>
                  <a:pt x="2194889" y="1447800"/>
                </a:cubicBezTo>
                <a:cubicBezTo>
                  <a:pt x="2209280" y="1419019"/>
                  <a:pt x="2236307" y="1398374"/>
                  <a:pt x="2254156" y="1371600"/>
                </a:cubicBezTo>
                <a:cubicBezTo>
                  <a:pt x="2259800" y="1363133"/>
                  <a:pt x="2263894" y="1353395"/>
                  <a:pt x="2271089" y="1346200"/>
                </a:cubicBezTo>
                <a:cubicBezTo>
                  <a:pt x="2278284" y="1339005"/>
                  <a:pt x="2288543" y="1335624"/>
                  <a:pt x="2296489" y="1329267"/>
                </a:cubicBezTo>
                <a:cubicBezTo>
                  <a:pt x="2331557" y="1301212"/>
                  <a:pt x="2293179" y="1315377"/>
                  <a:pt x="2355756" y="1286933"/>
                </a:cubicBezTo>
                <a:cubicBezTo>
                  <a:pt x="2375581" y="1277922"/>
                  <a:pt x="2447485" y="1258306"/>
                  <a:pt x="2465822" y="1253067"/>
                </a:cubicBezTo>
                <a:cubicBezTo>
                  <a:pt x="2471467" y="1247422"/>
                  <a:pt x="2475110" y="1238427"/>
                  <a:pt x="2482756" y="1236133"/>
                </a:cubicBezTo>
                <a:cubicBezTo>
                  <a:pt x="2502261" y="1230282"/>
                  <a:pt x="2650213" y="1219356"/>
                  <a:pt x="2652089" y="1219200"/>
                </a:cubicBezTo>
                <a:lnTo>
                  <a:pt x="3143156" y="1227667"/>
                </a:lnTo>
                <a:cubicBezTo>
                  <a:pt x="3168701" y="1228430"/>
                  <a:pt x="3193927" y="1233590"/>
                  <a:pt x="3219356" y="1236133"/>
                </a:cubicBezTo>
                <a:lnTo>
                  <a:pt x="3312489" y="1244600"/>
                </a:lnTo>
                <a:cubicBezTo>
                  <a:pt x="3326600" y="1247422"/>
                  <a:pt x="3368727" y="1256775"/>
                  <a:pt x="3354822" y="1253067"/>
                </a:cubicBezTo>
                <a:cubicBezTo>
                  <a:pt x="3298605" y="1238076"/>
                  <a:pt x="3242285" y="1223354"/>
                  <a:pt x="3185489" y="1210733"/>
                </a:cubicBezTo>
                <a:cubicBezTo>
                  <a:pt x="3160089" y="1205089"/>
                  <a:pt x="3134990" y="1197858"/>
                  <a:pt x="3109289" y="1193800"/>
                </a:cubicBezTo>
                <a:cubicBezTo>
                  <a:pt x="2874162" y="1156675"/>
                  <a:pt x="3121508" y="1204709"/>
                  <a:pt x="2982289" y="1176867"/>
                </a:cubicBezTo>
                <a:lnTo>
                  <a:pt x="2863756" y="1126067"/>
                </a:lnTo>
                <a:cubicBezTo>
                  <a:pt x="2849681" y="1120141"/>
                  <a:pt x="2801818" y="1102896"/>
                  <a:pt x="2787556" y="1092200"/>
                </a:cubicBezTo>
                <a:cubicBezTo>
                  <a:pt x="2774784" y="1082621"/>
                  <a:pt x="2765704" y="1068846"/>
                  <a:pt x="2753689" y="1058333"/>
                </a:cubicBezTo>
                <a:cubicBezTo>
                  <a:pt x="2743069" y="1049041"/>
                  <a:pt x="2729800" y="1042911"/>
                  <a:pt x="2719822" y="1032933"/>
                </a:cubicBezTo>
                <a:cubicBezTo>
                  <a:pt x="2709844" y="1022955"/>
                  <a:pt x="2702249" y="1010808"/>
                  <a:pt x="2694422" y="999067"/>
                </a:cubicBezTo>
                <a:cubicBezTo>
                  <a:pt x="2673161" y="967176"/>
                  <a:pt x="2668227" y="955143"/>
                  <a:pt x="2652089" y="922867"/>
                </a:cubicBezTo>
                <a:cubicBezTo>
                  <a:pt x="2649552" y="910180"/>
                  <a:pt x="2634898" y="839281"/>
                  <a:pt x="2635156" y="829733"/>
                </a:cubicBezTo>
                <a:cubicBezTo>
                  <a:pt x="2637525" y="742094"/>
                  <a:pt x="2640348" y="654148"/>
                  <a:pt x="2652089" y="567267"/>
                </a:cubicBezTo>
                <a:cubicBezTo>
                  <a:pt x="2654624" y="548505"/>
                  <a:pt x="2670207" y="533943"/>
                  <a:pt x="2677489" y="516467"/>
                </a:cubicBezTo>
                <a:cubicBezTo>
                  <a:pt x="2727200" y="397159"/>
                  <a:pt x="2643989" y="549723"/>
                  <a:pt x="2745222" y="381000"/>
                </a:cubicBezTo>
                <a:lnTo>
                  <a:pt x="2745222" y="381000"/>
                </a:lnTo>
                <a:cubicBezTo>
                  <a:pt x="2773384" y="324677"/>
                  <a:pt x="2749085" y="368226"/>
                  <a:pt x="2787556" y="313267"/>
                </a:cubicBezTo>
                <a:cubicBezTo>
                  <a:pt x="2799227" y="296595"/>
                  <a:pt x="2807032" y="276858"/>
                  <a:pt x="2821422" y="262467"/>
                </a:cubicBezTo>
                <a:cubicBezTo>
                  <a:pt x="2835813" y="248076"/>
                  <a:pt x="2855811" y="240635"/>
                  <a:pt x="2872222" y="228600"/>
                </a:cubicBezTo>
                <a:cubicBezTo>
                  <a:pt x="2898171" y="209571"/>
                  <a:pt x="2925668" y="192087"/>
                  <a:pt x="2948422" y="169333"/>
                </a:cubicBezTo>
                <a:cubicBezTo>
                  <a:pt x="2981017" y="136738"/>
                  <a:pt x="2963859" y="150575"/>
                  <a:pt x="2999222" y="127000"/>
                </a:cubicBezTo>
                <a:cubicBezTo>
                  <a:pt x="2990755" y="121356"/>
                  <a:pt x="2983800" y="108071"/>
                  <a:pt x="2973822" y="110067"/>
                </a:cubicBezTo>
                <a:cubicBezTo>
                  <a:pt x="2963844" y="112063"/>
                  <a:pt x="2964084" y="128272"/>
                  <a:pt x="2956889" y="135467"/>
                </a:cubicBezTo>
                <a:cubicBezTo>
                  <a:pt x="2949694" y="142662"/>
                  <a:pt x="2940842" y="148392"/>
                  <a:pt x="2931489" y="152400"/>
                </a:cubicBezTo>
                <a:cubicBezTo>
                  <a:pt x="2915411" y="159291"/>
                  <a:pt x="2858288" y="167422"/>
                  <a:pt x="2846822" y="169333"/>
                </a:cubicBezTo>
                <a:cubicBezTo>
                  <a:pt x="2776267" y="166511"/>
                  <a:pt x="2705366" y="168390"/>
                  <a:pt x="2635156" y="160867"/>
                </a:cubicBezTo>
                <a:cubicBezTo>
                  <a:pt x="2625038" y="159783"/>
                  <a:pt x="2619109" y="147941"/>
                  <a:pt x="2609756" y="143933"/>
                </a:cubicBezTo>
                <a:cubicBezTo>
                  <a:pt x="2599060" y="139349"/>
                  <a:pt x="2587178" y="138289"/>
                  <a:pt x="2575889" y="135467"/>
                </a:cubicBezTo>
                <a:cubicBezTo>
                  <a:pt x="2556133" y="124178"/>
                  <a:pt x="2537281" y="111135"/>
                  <a:pt x="2516622" y="101600"/>
                </a:cubicBezTo>
                <a:cubicBezTo>
                  <a:pt x="2501965" y="94835"/>
                  <a:pt x="2418945" y="70388"/>
                  <a:pt x="2406556" y="67733"/>
                </a:cubicBezTo>
                <a:cubicBezTo>
                  <a:pt x="2387043" y="63552"/>
                  <a:pt x="2366903" y="62945"/>
                  <a:pt x="2347289" y="59267"/>
                </a:cubicBezTo>
                <a:cubicBezTo>
                  <a:pt x="2321715" y="54472"/>
                  <a:pt x="2296332" y="48644"/>
                  <a:pt x="2271089" y="42333"/>
                </a:cubicBezTo>
                <a:cubicBezTo>
                  <a:pt x="2251156" y="37350"/>
                  <a:pt x="2232210" y="27948"/>
                  <a:pt x="2211822" y="25400"/>
                </a:cubicBezTo>
                <a:cubicBezTo>
                  <a:pt x="2141588" y="16621"/>
                  <a:pt x="2070585" y="15510"/>
                  <a:pt x="2000156" y="8467"/>
                </a:cubicBezTo>
                <a:lnTo>
                  <a:pt x="1915489" y="0"/>
                </a:lnTo>
                <a:lnTo>
                  <a:pt x="1534489" y="25400"/>
                </a:lnTo>
                <a:cubicBezTo>
                  <a:pt x="1520144" y="26548"/>
                  <a:pt x="1506039" y="30081"/>
                  <a:pt x="1492156" y="33867"/>
                </a:cubicBezTo>
                <a:cubicBezTo>
                  <a:pt x="1474936" y="38563"/>
                  <a:pt x="1458453" y="45671"/>
                  <a:pt x="1441356" y="50800"/>
                </a:cubicBezTo>
                <a:cubicBezTo>
                  <a:pt x="1430210" y="54144"/>
                  <a:pt x="1418293" y="54945"/>
                  <a:pt x="1407489" y="59267"/>
                </a:cubicBezTo>
                <a:cubicBezTo>
                  <a:pt x="1389911" y="66298"/>
                  <a:pt x="1374195" y="77459"/>
                  <a:pt x="1356689" y="84667"/>
                </a:cubicBezTo>
                <a:cubicBezTo>
                  <a:pt x="1326144" y="97244"/>
                  <a:pt x="1294130" y="106026"/>
                  <a:pt x="1263556" y="118533"/>
                </a:cubicBezTo>
                <a:cubicBezTo>
                  <a:pt x="1231994" y="131445"/>
                  <a:pt x="1201851" y="147634"/>
                  <a:pt x="1170422" y="160867"/>
                </a:cubicBezTo>
                <a:cubicBezTo>
                  <a:pt x="1148199" y="170224"/>
                  <a:pt x="1124404" y="175784"/>
                  <a:pt x="1102689" y="186267"/>
                </a:cubicBezTo>
                <a:cubicBezTo>
                  <a:pt x="1042438" y="215354"/>
                  <a:pt x="987009" y="254552"/>
                  <a:pt x="924889" y="279400"/>
                </a:cubicBezTo>
                <a:cubicBezTo>
                  <a:pt x="896667" y="290689"/>
                  <a:pt x="867409" y="299673"/>
                  <a:pt x="840222" y="313267"/>
                </a:cubicBezTo>
                <a:cubicBezTo>
                  <a:pt x="816408" y="325174"/>
                  <a:pt x="796579" y="344263"/>
                  <a:pt x="772489" y="355600"/>
                </a:cubicBezTo>
                <a:cubicBezTo>
                  <a:pt x="748263" y="367000"/>
                  <a:pt x="721503" y="371995"/>
                  <a:pt x="696289" y="381000"/>
                </a:cubicBezTo>
                <a:cubicBezTo>
                  <a:pt x="681976" y="386112"/>
                  <a:pt x="667844" y="391760"/>
                  <a:pt x="653956" y="397933"/>
                </a:cubicBezTo>
                <a:cubicBezTo>
                  <a:pt x="642422" y="403059"/>
                  <a:pt x="631907" y="410435"/>
                  <a:pt x="620089" y="414867"/>
                </a:cubicBezTo>
                <a:cubicBezTo>
                  <a:pt x="609194" y="418953"/>
                  <a:pt x="597632" y="421051"/>
                  <a:pt x="586222" y="423333"/>
                </a:cubicBezTo>
                <a:cubicBezTo>
                  <a:pt x="521404" y="436296"/>
                  <a:pt x="552108" y="426647"/>
                  <a:pt x="493089" y="440267"/>
                </a:cubicBezTo>
                <a:cubicBezTo>
                  <a:pt x="470412" y="445500"/>
                  <a:pt x="447733" y="450807"/>
                  <a:pt x="425356" y="457200"/>
                </a:cubicBezTo>
                <a:cubicBezTo>
                  <a:pt x="390972" y="467024"/>
                  <a:pt x="338188" y="487771"/>
                  <a:pt x="306822" y="499533"/>
                </a:cubicBezTo>
                <a:cubicBezTo>
                  <a:pt x="295533" y="508000"/>
                  <a:pt x="285208" y="517932"/>
                  <a:pt x="272956" y="524933"/>
                </a:cubicBezTo>
                <a:cubicBezTo>
                  <a:pt x="265207" y="529361"/>
                  <a:pt x="255085" y="528609"/>
                  <a:pt x="247556" y="533400"/>
                </a:cubicBezTo>
                <a:cubicBezTo>
                  <a:pt x="223746" y="548552"/>
                  <a:pt x="179822" y="584200"/>
                  <a:pt x="179822" y="584200"/>
                </a:cubicBezTo>
                <a:cubicBezTo>
                  <a:pt x="177000" y="592667"/>
                  <a:pt x="175784" y="601851"/>
                  <a:pt x="171356" y="609600"/>
                </a:cubicBezTo>
                <a:cubicBezTo>
                  <a:pt x="164355" y="621852"/>
                  <a:pt x="151687" y="630572"/>
                  <a:pt x="145956" y="643467"/>
                </a:cubicBezTo>
                <a:cubicBezTo>
                  <a:pt x="140111" y="656617"/>
                  <a:pt x="141624" y="672016"/>
                  <a:pt x="137489" y="685800"/>
                </a:cubicBezTo>
                <a:cubicBezTo>
                  <a:pt x="133122" y="700357"/>
                  <a:pt x="125362" y="713715"/>
                  <a:pt x="120556" y="728133"/>
                </a:cubicBezTo>
                <a:cubicBezTo>
                  <a:pt x="114577" y="746069"/>
                  <a:pt x="106978" y="787556"/>
                  <a:pt x="103622" y="804333"/>
                </a:cubicBezTo>
                <a:cubicBezTo>
                  <a:pt x="97978" y="939800"/>
                  <a:pt x="97501" y="1075581"/>
                  <a:pt x="86689" y="1210733"/>
                </a:cubicBezTo>
                <a:cubicBezTo>
                  <a:pt x="86052" y="1218690"/>
                  <a:pt x="75817" y="1222472"/>
                  <a:pt x="69756" y="1227667"/>
                </a:cubicBezTo>
                <a:cubicBezTo>
                  <a:pt x="56035" y="1239427"/>
                  <a:pt x="41879" y="1250690"/>
                  <a:pt x="27422" y="1261533"/>
                </a:cubicBezTo>
                <a:cubicBezTo>
                  <a:pt x="19281" y="1267638"/>
                  <a:pt x="-7506" y="1282040"/>
                  <a:pt x="2022" y="1278467"/>
                </a:cubicBezTo>
                <a:cubicBezTo>
                  <a:pt x="33952" y="1266493"/>
                  <a:pt x="64111" y="1250244"/>
                  <a:pt x="95156" y="1236133"/>
                </a:cubicBezTo>
                <a:cubicBezTo>
                  <a:pt x="106445" y="1224844"/>
                  <a:pt x="117090" y="1212873"/>
                  <a:pt x="129022" y="1202267"/>
                </a:cubicBezTo>
                <a:cubicBezTo>
                  <a:pt x="142529" y="1190261"/>
                  <a:pt x="158578" y="1181178"/>
                  <a:pt x="171356" y="1168400"/>
                </a:cubicBezTo>
                <a:cubicBezTo>
                  <a:pt x="211125" y="1128631"/>
                  <a:pt x="198524" y="1133555"/>
                  <a:pt x="222156" y="1092200"/>
                </a:cubicBezTo>
                <a:cubicBezTo>
                  <a:pt x="227205" y="1083365"/>
                  <a:pt x="234538" y="1075901"/>
                  <a:pt x="239089" y="1066800"/>
                </a:cubicBezTo>
                <a:cubicBezTo>
                  <a:pt x="248701" y="1047576"/>
                  <a:pt x="256506" y="1027489"/>
                  <a:pt x="264489" y="1007533"/>
                </a:cubicBezTo>
                <a:cubicBezTo>
                  <a:pt x="271973" y="988823"/>
                  <a:pt x="287725" y="930441"/>
                  <a:pt x="289889" y="922867"/>
                </a:cubicBezTo>
                <a:cubicBezTo>
                  <a:pt x="293325" y="895377"/>
                  <a:pt x="298204" y="842962"/>
                  <a:pt x="306822" y="812800"/>
                </a:cubicBezTo>
                <a:cubicBezTo>
                  <a:pt x="314177" y="787056"/>
                  <a:pt x="323755" y="762000"/>
                  <a:pt x="332222" y="736600"/>
                </a:cubicBezTo>
                <a:lnTo>
                  <a:pt x="340689" y="711200"/>
                </a:lnTo>
                <a:cubicBezTo>
                  <a:pt x="343511" y="702733"/>
                  <a:pt x="342845" y="692111"/>
                  <a:pt x="349156" y="685800"/>
                </a:cubicBezTo>
                <a:cubicBezTo>
                  <a:pt x="360445" y="674511"/>
                  <a:pt x="373443" y="664705"/>
                  <a:pt x="383022" y="651933"/>
                </a:cubicBezTo>
                <a:cubicBezTo>
                  <a:pt x="390595" y="641836"/>
                  <a:pt x="393694" y="629025"/>
                  <a:pt x="399956" y="618067"/>
                </a:cubicBezTo>
                <a:cubicBezTo>
                  <a:pt x="412054" y="596897"/>
                  <a:pt x="447334" y="551593"/>
                  <a:pt x="459222" y="541867"/>
                </a:cubicBezTo>
                <a:cubicBezTo>
                  <a:pt x="473875" y="529878"/>
                  <a:pt x="492722" y="524156"/>
                  <a:pt x="510022" y="516467"/>
                </a:cubicBezTo>
                <a:cubicBezTo>
                  <a:pt x="525640" y="509526"/>
                  <a:pt x="553911" y="503378"/>
                  <a:pt x="569289" y="499533"/>
                </a:cubicBezTo>
                <a:cubicBezTo>
                  <a:pt x="651133" y="505178"/>
                  <a:pt x="733656" y="504531"/>
                  <a:pt x="814822" y="516467"/>
                </a:cubicBezTo>
                <a:cubicBezTo>
                  <a:pt x="831103" y="518861"/>
                  <a:pt x="841690" y="536243"/>
                  <a:pt x="857156" y="541867"/>
                </a:cubicBezTo>
                <a:cubicBezTo>
                  <a:pt x="873289" y="547734"/>
                  <a:pt x="891023" y="547511"/>
                  <a:pt x="907956" y="550333"/>
                </a:cubicBezTo>
                <a:cubicBezTo>
                  <a:pt x="967816" y="590242"/>
                  <a:pt x="895745" y="538122"/>
                  <a:pt x="958756" y="601133"/>
                </a:cubicBezTo>
                <a:cubicBezTo>
                  <a:pt x="965951" y="608328"/>
                  <a:pt x="975689" y="612422"/>
                  <a:pt x="984156" y="618067"/>
                </a:cubicBezTo>
                <a:cubicBezTo>
                  <a:pt x="986978" y="635000"/>
                  <a:pt x="990825" y="651794"/>
                  <a:pt x="992622" y="668867"/>
                </a:cubicBezTo>
                <a:cubicBezTo>
                  <a:pt x="996474" y="705462"/>
                  <a:pt x="997757" y="742287"/>
                  <a:pt x="1001089" y="778933"/>
                </a:cubicBezTo>
                <a:cubicBezTo>
                  <a:pt x="1003403" y="804384"/>
                  <a:pt x="1006734" y="829733"/>
                  <a:pt x="1009556" y="855133"/>
                </a:cubicBezTo>
                <a:cubicBezTo>
                  <a:pt x="1015200" y="1021644"/>
                  <a:pt x="1018688" y="1188243"/>
                  <a:pt x="1026489" y="1354667"/>
                </a:cubicBezTo>
                <a:cubicBezTo>
                  <a:pt x="1027163" y="1369042"/>
                  <a:pt x="1032382" y="1382842"/>
                  <a:pt x="1034956" y="1397000"/>
                </a:cubicBezTo>
                <a:cubicBezTo>
                  <a:pt x="1038027" y="1413890"/>
                  <a:pt x="1039562" y="1431073"/>
                  <a:pt x="1043422" y="1447800"/>
                </a:cubicBezTo>
                <a:cubicBezTo>
                  <a:pt x="1061124" y="1524508"/>
                  <a:pt x="1058558" y="1484395"/>
                  <a:pt x="1068822" y="1549400"/>
                </a:cubicBezTo>
                <a:cubicBezTo>
                  <a:pt x="1102399" y="1762056"/>
                  <a:pt x="1072808" y="1581285"/>
                  <a:pt x="1094222" y="1752600"/>
                </a:cubicBezTo>
                <a:cubicBezTo>
                  <a:pt x="1120488" y="1962735"/>
                  <a:pt x="1079277" y="1569290"/>
                  <a:pt x="1111156" y="1888067"/>
                </a:cubicBezTo>
                <a:cubicBezTo>
                  <a:pt x="1113978" y="1950156"/>
                  <a:pt x="1115031" y="2012350"/>
                  <a:pt x="1119622" y="2074333"/>
                </a:cubicBezTo>
                <a:cubicBezTo>
                  <a:pt x="1120685" y="2088684"/>
                  <a:pt x="1125515" y="2102508"/>
                  <a:pt x="1128089" y="2116667"/>
                </a:cubicBezTo>
                <a:cubicBezTo>
                  <a:pt x="1131160" y="2133557"/>
                  <a:pt x="1133734" y="2150534"/>
                  <a:pt x="1136556" y="2167467"/>
                </a:cubicBezTo>
                <a:cubicBezTo>
                  <a:pt x="1133143" y="2232313"/>
                  <a:pt x="1137063" y="2305265"/>
                  <a:pt x="1119622" y="2370667"/>
                </a:cubicBezTo>
                <a:cubicBezTo>
                  <a:pt x="1112030" y="2399137"/>
                  <a:pt x="1106682" y="2428633"/>
                  <a:pt x="1094222" y="2455333"/>
                </a:cubicBezTo>
                <a:cubicBezTo>
                  <a:pt x="1086580" y="2471709"/>
                  <a:pt x="1072116" y="2483946"/>
                  <a:pt x="1060356" y="2497667"/>
                </a:cubicBezTo>
                <a:cubicBezTo>
                  <a:pt x="1031498" y="2531335"/>
                  <a:pt x="916696" y="2613286"/>
                  <a:pt x="933356" y="2607733"/>
                </a:cubicBezTo>
                <a:cubicBezTo>
                  <a:pt x="990629" y="2588643"/>
                  <a:pt x="921119" y="2613853"/>
                  <a:pt x="1001089" y="2573867"/>
                </a:cubicBezTo>
                <a:cubicBezTo>
                  <a:pt x="1009071" y="2569876"/>
                  <a:pt x="1018507" y="2569391"/>
                  <a:pt x="1026489" y="2565400"/>
                </a:cubicBezTo>
                <a:cubicBezTo>
                  <a:pt x="1081689" y="2537800"/>
                  <a:pt x="1022443" y="2540675"/>
                  <a:pt x="1128089" y="2523067"/>
                </a:cubicBezTo>
                <a:lnTo>
                  <a:pt x="1331289" y="2489200"/>
                </a:lnTo>
                <a:cubicBezTo>
                  <a:pt x="1404494" y="2459918"/>
                  <a:pt x="1341764" y="2481512"/>
                  <a:pt x="1424422" y="2463800"/>
                </a:cubicBezTo>
                <a:cubicBezTo>
                  <a:pt x="1447178" y="2458924"/>
                  <a:pt x="1469479" y="2452100"/>
                  <a:pt x="1492156" y="2446867"/>
                </a:cubicBezTo>
                <a:cubicBezTo>
                  <a:pt x="1506178" y="2443631"/>
                  <a:pt x="1520441" y="2441522"/>
                  <a:pt x="1534489" y="2438400"/>
                </a:cubicBezTo>
                <a:cubicBezTo>
                  <a:pt x="1568955" y="2430741"/>
                  <a:pt x="1591303" y="2422905"/>
                  <a:pt x="1627622" y="2413000"/>
                </a:cubicBezTo>
                <a:cubicBezTo>
                  <a:pt x="1638848" y="2409938"/>
                  <a:pt x="1650300" y="2407730"/>
                  <a:pt x="1661489" y="2404533"/>
                </a:cubicBezTo>
                <a:cubicBezTo>
                  <a:pt x="1670070" y="2402081"/>
                  <a:pt x="1678177" y="2398003"/>
                  <a:pt x="1686889" y="2396067"/>
                </a:cubicBezTo>
                <a:cubicBezTo>
                  <a:pt x="1731165" y="2386228"/>
                  <a:pt x="1761000" y="2388436"/>
                  <a:pt x="1805422" y="2370667"/>
                </a:cubicBezTo>
                <a:cubicBezTo>
                  <a:pt x="1856042" y="2350418"/>
                  <a:pt x="1833337" y="2358539"/>
                  <a:pt x="1873156" y="2345267"/>
                </a:cubicBezTo>
                <a:cubicBezTo>
                  <a:pt x="1922684" y="2295738"/>
                  <a:pt x="1898884" y="2314003"/>
                  <a:pt x="1940889" y="2286000"/>
                </a:cubicBezTo>
                <a:cubicBezTo>
                  <a:pt x="1943711" y="2271889"/>
                  <a:pt x="1947454" y="2257931"/>
                  <a:pt x="1949356" y="2243667"/>
                </a:cubicBezTo>
                <a:cubicBezTo>
                  <a:pt x="1953104" y="2215553"/>
                  <a:pt x="1950030" y="2186272"/>
                  <a:pt x="1957822" y="2159000"/>
                </a:cubicBezTo>
                <a:cubicBezTo>
                  <a:pt x="1960274" y="2150419"/>
                  <a:pt x="1963941" y="2175790"/>
                  <a:pt x="1966289" y="2184400"/>
                </a:cubicBezTo>
                <a:cubicBezTo>
                  <a:pt x="1972412" y="2206852"/>
                  <a:pt x="1977892" y="2229479"/>
                  <a:pt x="1983222" y="2252133"/>
                </a:cubicBezTo>
                <a:cubicBezTo>
                  <a:pt x="1989182" y="2277461"/>
                  <a:pt x="1991496" y="2303797"/>
                  <a:pt x="2000156" y="2328333"/>
                </a:cubicBezTo>
                <a:cubicBezTo>
                  <a:pt x="2008557" y="2352137"/>
                  <a:pt x="2021035" y="2374421"/>
                  <a:pt x="2034022" y="2396067"/>
                </a:cubicBezTo>
                <a:cubicBezTo>
                  <a:pt x="2045027" y="2414409"/>
                  <a:pt x="2057068" y="2415956"/>
                  <a:pt x="2076356" y="2421467"/>
                </a:cubicBezTo>
                <a:cubicBezTo>
                  <a:pt x="2087544" y="2424664"/>
                  <a:pt x="2099077" y="2426589"/>
                  <a:pt x="2110222" y="2429933"/>
                </a:cubicBezTo>
                <a:cubicBezTo>
                  <a:pt x="2127319" y="2435062"/>
                  <a:pt x="2144089" y="2441222"/>
                  <a:pt x="2161022" y="2446867"/>
                </a:cubicBezTo>
                <a:cubicBezTo>
                  <a:pt x="2262622" y="2444045"/>
                  <a:pt x="2364482" y="2446195"/>
                  <a:pt x="2465822" y="2438400"/>
                </a:cubicBezTo>
                <a:cubicBezTo>
                  <a:pt x="2475968" y="2437620"/>
                  <a:pt x="2482121" y="2426018"/>
                  <a:pt x="2491222" y="2421467"/>
                </a:cubicBezTo>
                <a:cubicBezTo>
                  <a:pt x="2499204" y="2417476"/>
                  <a:pt x="2508155" y="2415822"/>
                  <a:pt x="2516622" y="2413000"/>
                </a:cubicBezTo>
                <a:cubicBezTo>
                  <a:pt x="2535110" y="2394513"/>
                  <a:pt x="2558051" y="2375144"/>
                  <a:pt x="2558956" y="2345267"/>
                </a:cubicBezTo>
                <a:cubicBezTo>
                  <a:pt x="2564086" y="2175988"/>
                  <a:pt x="2558544" y="2006432"/>
                  <a:pt x="2550489" y="1837267"/>
                </a:cubicBezTo>
                <a:cubicBezTo>
                  <a:pt x="2550005" y="1827103"/>
                  <a:pt x="2540257" y="1819525"/>
                  <a:pt x="2533556" y="1811867"/>
                </a:cubicBezTo>
                <a:cubicBezTo>
                  <a:pt x="2520415" y="1796848"/>
                  <a:pt x="2510583" y="1774373"/>
                  <a:pt x="2491222" y="1769533"/>
                </a:cubicBezTo>
                <a:cubicBezTo>
                  <a:pt x="2418927" y="1751460"/>
                  <a:pt x="2468962" y="1761896"/>
                  <a:pt x="2338822" y="1752600"/>
                </a:cubicBezTo>
                <a:cubicBezTo>
                  <a:pt x="2286649" y="1739556"/>
                  <a:pt x="2298921" y="1747759"/>
                  <a:pt x="2347289" y="1735667"/>
                </a:cubicBezTo>
                <a:cubicBezTo>
                  <a:pt x="2367222" y="1730684"/>
                  <a:pt x="2386800" y="1724378"/>
                  <a:pt x="2406556" y="1718733"/>
                </a:cubicBezTo>
                <a:cubicBezTo>
                  <a:pt x="2415023" y="1713089"/>
                  <a:pt x="2423121" y="1706848"/>
                  <a:pt x="2431956" y="1701800"/>
                </a:cubicBezTo>
                <a:cubicBezTo>
                  <a:pt x="2473138" y="1678268"/>
                  <a:pt x="2510587" y="1672751"/>
                  <a:pt x="2542022" y="1625600"/>
                </a:cubicBezTo>
                <a:lnTo>
                  <a:pt x="2558956" y="1600200"/>
                </a:lnTo>
                <a:cubicBezTo>
                  <a:pt x="2571498" y="1550028"/>
                  <a:pt x="2568990" y="1582638"/>
                  <a:pt x="2558956" y="1532467"/>
                </a:cubicBezTo>
                <a:cubicBezTo>
                  <a:pt x="2555589" y="1515633"/>
                  <a:pt x="2557461" y="1497354"/>
                  <a:pt x="2550489" y="1481667"/>
                </a:cubicBezTo>
                <a:cubicBezTo>
                  <a:pt x="2545626" y="1470725"/>
                  <a:pt x="2533556" y="1464734"/>
                  <a:pt x="2525089" y="1456267"/>
                </a:cubicBezTo>
                <a:cubicBezTo>
                  <a:pt x="2519445" y="1442156"/>
                  <a:pt x="2516990" y="1426300"/>
                  <a:pt x="2508156" y="1413933"/>
                </a:cubicBezTo>
                <a:cubicBezTo>
                  <a:pt x="2502242" y="1405653"/>
                  <a:pt x="2490573" y="1403514"/>
                  <a:pt x="2482756" y="1397000"/>
                </a:cubicBezTo>
                <a:cubicBezTo>
                  <a:pt x="2440474" y="1361765"/>
                  <a:pt x="2476594" y="1378013"/>
                  <a:pt x="2431956" y="1363133"/>
                </a:cubicBezTo>
                <a:cubicBezTo>
                  <a:pt x="2375511" y="1365955"/>
                  <a:pt x="2318427" y="1362671"/>
                  <a:pt x="2262622" y="1371600"/>
                </a:cubicBezTo>
                <a:cubicBezTo>
                  <a:pt x="2246373" y="1374200"/>
                  <a:pt x="2235008" y="1389641"/>
                  <a:pt x="2220289" y="1397000"/>
                </a:cubicBezTo>
                <a:cubicBezTo>
                  <a:pt x="2212307" y="1400991"/>
                  <a:pt x="2203356" y="1402645"/>
                  <a:pt x="2194889" y="1405467"/>
                </a:cubicBezTo>
                <a:cubicBezTo>
                  <a:pt x="2180778" y="1422400"/>
                  <a:pt x="2167071" y="1439679"/>
                  <a:pt x="2152556" y="1456267"/>
                </a:cubicBezTo>
                <a:cubicBezTo>
                  <a:pt x="2147299" y="1462274"/>
                  <a:pt x="2143543" y="1474190"/>
                  <a:pt x="2135622" y="1473200"/>
                </a:cubicBezTo>
                <a:cubicBezTo>
                  <a:pt x="2116836" y="1470852"/>
                  <a:pt x="2102223" y="1455258"/>
                  <a:pt x="2084822" y="1447800"/>
                </a:cubicBezTo>
                <a:cubicBezTo>
                  <a:pt x="2047873" y="1431964"/>
                  <a:pt x="2004806" y="1418306"/>
                  <a:pt x="1966289" y="1405467"/>
                </a:cubicBezTo>
                <a:cubicBezTo>
                  <a:pt x="1957822" y="1399822"/>
                  <a:pt x="1949784" y="1393475"/>
                  <a:pt x="1940889" y="1388533"/>
                </a:cubicBezTo>
                <a:cubicBezTo>
                  <a:pt x="1885695" y="1357869"/>
                  <a:pt x="1890654" y="1365654"/>
                  <a:pt x="1830822" y="1337733"/>
                </a:cubicBezTo>
                <a:cubicBezTo>
                  <a:pt x="1807948" y="1327058"/>
                  <a:pt x="1786526" y="1313242"/>
                  <a:pt x="1763089" y="1303867"/>
                </a:cubicBezTo>
                <a:cubicBezTo>
                  <a:pt x="1748978" y="1298222"/>
                  <a:pt x="1734491" y="1293439"/>
                  <a:pt x="1720756" y="1286933"/>
                </a:cubicBezTo>
                <a:cubicBezTo>
                  <a:pt x="1680833" y="1268022"/>
                  <a:pt x="1643237" y="1244074"/>
                  <a:pt x="1602222" y="1227667"/>
                </a:cubicBezTo>
                <a:cubicBezTo>
                  <a:pt x="1455724" y="1169065"/>
                  <a:pt x="1635951" y="1244531"/>
                  <a:pt x="1534489" y="1193800"/>
                </a:cubicBezTo>
                <a:cubicBezTo>
                  <a:pt x="1463312" y="1158211"/>
                  <a:pt x="1572364" y="1230338"/>
                  <a:pt x="1466756" y="1159933"/>
                </a:cubicBezTo>
                <a:cubicBezTo>
                  <a:pt x="1455015" y="1152106"/>
                  <a:pt x="1432889" y="1134533"/>
                  <a:pt x="1432889" y="1134533"/>
                </a:cubicBezTo>
              </a:path>
            </a:pathLst>
          </a:custGeom>
          <a:noFill/>
          <a:ln w="28575">
            <a:solidFill>
              <a:srgbClr val="96C258"/>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96C258"/>
              </a:solidFill>
              <a:effectLst/>
              <a:uLnTx/>
              <a:uFillTx/>
              <a:latin typeface="Arial"/>
              <a:ea typeface="+mn-ea"/>
              <a:cs typeface="+mn-cs"/>
            </a:endParaRPr>
          </a:p>
        </p:txBody>
      </p:sp>
      <p:sp>
        <p:nvSpPr>
          <p:cNvPr id="11" name="Freeform: Shape 10">
            <a:extLst>
              <a:ext uri="{FF2B5EF4-FFF2-40B4-BE49-F238E27FC236}">
                <a16:creationId xmlns:a16="http://schemas.microsoft.com/office/drawing/2014/main" id="{7FA692C4-8621-D234-7A4B-60AF51E4A6E6}"/>
              </a:ext>
            </a:extLst>
          </p:cNvPr>
          <p:cNvSpPr/>
          <p:nvPr/>
        </p:nvSpPr>
        <p:spPr>
          <a:xfrm>
            <a:off x="7924797" y="2678546"/>
            <a:ext cx="757383" cy="2133600"/>
          </a:xfrm>
          <a:custGeom>
            <a:avLst/>
            <a:gdLst>
              <a:gd name="connsiteX0" fmla="*/ 424872 w 843934"/>
              <a:gd name="connsiteY0" fmla="*/ 0 h 2133600"/>
              <a:gd name="connsiteX1" fmla="*/ 831272 w 843934"/>
              <a:gd name="connsiteY1" fmla="*/ 822037 h 2133600"/>
              <a:gd name="connsiteX2" fmla="*/ 0 w 843934"/>
              <a:gd name="connsiteY2" fmla="*/ 2133600 h 2133600"/>
            </a:gdLst>
            <a:ahLst/>
            <a:cxnLst>
              <a:cxn ang="0">
                <a:pos x="connsiteX0" y="connsiteY0"/>
              </a:cxn>
              <a:cxn ang="0">
                <a:pos x="connsiteX1" y="connsiteY1"/>
              </a:cxn>
              <a:cxn ang="0">
                <a:pos x="connsiteX2" y="connsiteY2"/>
              </a:cxn>
            </a:cxnLst>
            <a:rect l="l" t="t" r="r" b="b"/>
            <a:pathLst>
              <a:path w="843934" h="2133600">
                <a:moveTo>
                  <a:pt x="424872" y="0"/>
                </a:moveTo>
                <a:cubicBezTo>
                  <a:pt x="663478" y="233218"/>
                  <a:pt x="902084" y="466437"/>
                  <a:pt x="831272" y="822037"/>
                </a:cubicBezTo>
                <a:cubicBezTo>
                  <a:pt x="760460" y="1177637"/>
                  <a:pt x="380230" y="1655618"/>
                  <a:pt x="0" y="2133600"/>
                </a:cubicBezTo>
              </a:path>
            </a:pathLst>
          </a:custGeom>
          <a:noFill/>
          <a:ln w="28575">
            <a:solidFill>
              <a:srgbClr val="FAA41A"/>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12" name="Freeform: Shape 11">
            <a:extLst>
              <a:ext uri="{FF2B5EF4-FFF2-40B4-BE49-F238E27FC236}">
                <a16:creationId xmlns:a16="http://schemas.microsoft.com/office/drawing/2014/main" id="{27CDDE46-32A9-1995-1EE0-032E5C9A17CC}"/>
              </a:ext>
            </a:extLst>
          </p:cNvPr>
          <p:cNvSpPr/>
          <p:nvPr/>
        </p:nvSpPr>
        <p:spPr>
          <a:xfrm>
            <a:off x="7398327" y="1911610"/>
            <a:ext cx="1885925" cy="1406836"/>
          </a:xfrm>
          <a:custGeom>
            <a:avLst/>
            <a:gdLst>
              <a:gd name="connsiteX0" fmla="*/ 942109 w 1885925"/>
              <a:gd name="connsiteY0" fmla="*/ 794645 h 1406836"/>
              <a:gd name="connsiteX1" fmla="*/ 951346 w 1885925"/>
              <a:gd name="connsiteY1" fmla="*/ 859299 h 1406836"/>
              <a:gd name="connsiteX2" fmla="*/ 1016000 w 1885925"/>
              <a:gd name="connsiteY2" fmla="*/ 896245 h 1406836"/>
              <a:gd name="connsiteX3" fmla="*/ 1126837 w 1885925"/>
              <a:gd name="connsiteY3" fmla="*/ 970135 h 1406836"/>
              <a:gd name="connsiteX4" fmla="*/ 1163782 w 1885925"/>
              <a:gd name="connsiteY4" fmla="*/ 1007081 h 1406836"/>
              <a:gd name="connsiteX5" fmla="*/ 1191491 w 1885925"/>
              <a:gd name="connsiteY5" fmla="*/ 1025554 h 1406836"/>
              <a:gd name="connsiteX6" fmla="*/ 1256146 w 1885925"/>
              <a:gd name="connsiteY6" fmla="*/ 1108681 h 1406836"/>
              <a:gd name="connsiteX7" fmla="*/ 1274618 w 1885925"/>
              <a:gd name="connsiteY7" fmla="*/ 1136390 h 1406836"/>
              <a:gd name="connsiteX8" fmla="*/ 1302328 w 1885925"/>
              <a:gd name="connsiteY8" fmla="*/ 1164099 h 1406836"/>
              <a:gd name="connsiteX9" fmla="*/ 1320800 w 1885925"/>
              <a:gd name="connsiteY9" fmla="*/ 1201045 h 1406836"/>
              <a:gd name="connsiteX10" fmla="*/ 1357746 w 1885925"/>
              <a:gd name="connsiteY10" fmla="*/ 1293408 h 1406836"/>
              <a:gd name="connsiteX11" fmla="*/ 1385455 w 1885925"/>
              <a:gd name="connsiteY11" fmla="*/ 1348826 h 1406836"/>
              <a:gd name="connsiteX12" fmla="*/ 1394691 w 1885925"/>
              <a:gd name="connsiteY12" fmla="*/ 1404245 h 1406836"/>
              <a:gd name="connsiteX13" fmla="*/ 1385455 w 1885925"/>
              <a:gd name="connsiteY13" fmla="*/ 1367299 h 1406836"/>
              <a:gd name="connsiteX14" fmla="*/ 1376218 w 1885925"/>
              <a:gd name="connsiteY14" fmla="*/ 1339590 h 1406836"/>
              <a:gd name="connsiteX15" fmla="*/ 1320800 w 1885925"/>
              <a:gd name="connsiteY15" fmla="*/ 1265699 h 1406836"/>
              <a:gd name="connsiteX16" fmla="*/ 1293091 w 1885925"/>
              <a:gd name="connsiteY16" fmla="*/ 1219517 h 1406836"/>
              <a:gd name="connsiteX17" fmla="*/ 1274618 w 1885925"/>
              <a:gd name="connsiteY17" fmla="*/ 1191808 h 1406836"/>
              <a:gd name="connsiteX18" fmla="*/ 1256146 w 1885925"/>
              <a:gd name="connsiteY18" fmla="*/ 951663 h 1406836"/>
              <a:gd name="connsiteX19" fmla="*/ 1293091 w 1885925"/>
              <a:gd name="connsiteY19" fmla="*/ 896245 h 1406836"/>
              <a:gd name="connsiteX20" fmla="*/ 1385455 w 1885925"/>
              <a:gd name="connsiteY20" fmla="*/ 785408 h 1406836"/>
              <a:gd name="connsiteX21" fmla="*/ 1477818 w 1885925"/>
              <a:gd name="connsiteY21" fmla="*/ 739226 h 1406836"/>
              <a:gd name="connsiteX22" fmla="*/ 1514764 w 1885925"/>
              <a:gd name="connsiteY22" fmla="*/ 711517 h 1406836"/>
              <a:gd name="connsiteX23" fmla="*/ 1616364 w 1885925"/>
              <a:gd name="connsiteY23" fmla="*/ 683808 h 1406836"/>
              <a:gd name="connsiteX24" fmla="*/ 1671782 w 1885925"/>
              <a:gd name="connsiteY24" fmla="*/ 665335 h 1406836"/>
              <a:gd name="connsiteX25" fmla="*/ 1819564 w 1885925"/>
              <a:gd name="connsiteY25" fmla="*/ 656099 h 1406836"/>
              <a:gd name="connsiteX26" fmla="*/ 1884218 w 1885925"/>
              <a:gd name="connsiteY26" fmla="*/ 646863 h 1406836"/>
              <a:gd name="connsiteX27" fmla="*/ 1801091 w 1885925"/>
              <a:gd name="connsiteY27" fmla="*/ 628390 h 1406836"/>
              <a:gd name="connsiteX28" fmla="*/ 1773382 w 1885925"/>
              <a:gd name="connsiteY28" fmla="*/ 609917 h 1406836"/>
              <a:gd name="connsiteX29" fmla="*/ 1736437 w 1885925"/>
              <a:gd name="connsiteY29" fmla="*/ 582208 h 1406836"/>
              <a:gd name="connsiteX30" fmla="*/ 1699491 w 1885925"/>
              <a:gd name="connsiteY30" fmla="*/ 545263 h 1406836"/>
              <a:gd name="connsiteX31" fmla="*/ 1671782 w 1885925"/>
              <a:gd name="connsiteY31" fmla="*/ 536026 h 1406836"/>
              <a:gd name="connsiteX32" fmla="*/ 1625600 w 1885925"/>
              <a:gd name="connsiteY32" fmla="*/ 489845 h 1406836"/>
              <a:gd name="connsiteX33" fmla="*/ 1597891 w 1885925"/>
              <a:gd name="connsiteY33" fmla="*/ 471372 h 1406836"/>
              <a:gd name="connsiteX34" fmla="*/ 1505528 w 1885925"/>
              <a:gd name="connsiteY34" fmla="*/ 397481 h 1406836"/>
              <a:gd name="connsiteX35" fmla="*/ 1487055 w 1885925"/>
              <a:gd name="connsiteY35" fmla="*/ 369772 h 1406836"/>
              <a:gd name="connsiteX36" fmla="*/ 1431637 w 1885925"/>
              <a:gd name="connsiteY36" fmla="*/ 314354 h 1406836"/>
              <a:gd name="connsiteX37" fmla="*/ 1422400 w 1885925"/>
              <a:gd name="connsiteY37" fmla="*/ 286645 h 1406836"/>
              <a:gd name="connsiteX38" fmla="*/ 1366982 w 1885925"/>
              <a:gd name="connsiteY38" fmla="*/ 203517 h 1406836"/>
              <a:gd name="connsiteX39" fmla="*/ 1320800 w 1885925"/>
              <a:gd name="connsiteY39" fmla="*/ 148099 h 1406836"/>
              <a:gd name="connsiteX40" fmla="*/ 1283855 w 1885925"/>
              <a:gd name="connsiteY40" fmla="*/ 120390 h 1406836"/>
              <a:gd name="connsiteX41" fmla="*/ 1237673 w 1885925"/>
              <a:gd name="connsiteY41" fmla="*/ 55735 h 1406836"/>
              <a:gd name="connsiteX42" fmla="*/ 1209964 w 1885925"/>
              <a:gd name="connsiteY42" fmla="*/ 46499 h 1406836"/>
              <a:gd name="connsiteX43" fmla="*/ 1182255 w 1885925"/>
              <a:gd name="connsiteY43" fmla="*/ 28026 h 1406836"/>
              <a:gd name="connsiteX44" fmla="*/ 1163782 w 1885925"/>
              <a:gd name="connsiteY44" fmla="*/ 46499 h 1406836"/>
              <a:gd name="connsiteX45" fmla="*/ 1145309 w 1885925"/>
              <a:gd name="connsiteY45" fmla="*/ 249699 h 1406836"/>
              <a:gd name="connsiteX46" fmla="*/ 1108364 w 1885925"/>
              <a:gd name="connsiteY46" fmla="*/ 286645 h 1406836"/>
              <a:gd name="connsiteX47" fmla="*/ 1071418 w 1885925"/>
              <a:gd name="connsiteY47" fmla="*/ 295881 h 1406836"/>
              <a:gd name="connsiteX48" fmla="*/ 1006764 w 1885925"/>
              <a:gd name="connsiteY48" fmla="*/ 314354 h 1406836"/>
              <a:gd name="connsiteX49" fmla="*/ 951346 w 1885925"/>
              <a:gd name="connsiteY49" fmla="*/ 342063 h 1406836"/>
              <a:gd name="connsiteX50" fmla="*/ 849746 w 1885925"/>
              <a:gd name="connsiteY50" fmla="*/ 360535 h 1406836"/>
              <a:gd name="connsiteX51" fmla="*/ 757382 w 1885925"/>
              <a:gd name="connsiteY51" fmla="*/ 379008 h 1406836"/>
              <a:gd name="connsiteX52" fmla="*/ 609600 w 1885925"/>
              <a:gd name="connsiteY52" fmla="*/ 397481 h 1406836"/>
              <a:gd name="connsiteX53" fmla="*/ 489528 w 1885925"/>
              <a:gd name="connsiteY53" fmla="*/ 425190 h 1406836"/>
              <a:gd name="connsiteX54" fmla="*/ 27709 w 1885925"/>
              <a:gd name="connsiteY54" fmla="*/ 360535 h 1406836"/>
              <a:gd name="connsiteX55" fmla="*/ 0 w 1885925"/>
              <a:gd name="connsiteY55" fmla="*/ 295881 h 1406836"/>
              <a:gd name="connsiteX56" fmla="*/ 27709 w 1885925"/>
              <a:gd name="connsiteY56" fmla="*/ 111154 h 1406836"/>
              <a:gd name="connsiteX57" fmla="*/ 101600 w 1885925"/>
              <a:gd name="connsiteY57" fmla="*/ 64972 h 1406836"/>
              <a:gd name="connsiteX58" fmla="*/ 129309 w 1885925"/>
              <a:gd name="connsiteY58" fmla="*/ 74208 h 1406836"/>
              <a:gd name="connsiteX59" fmla="*/ 101600 w 1885925"/>
              <a:gd name="connsiteY59" fmla="*/ 101917 h 1406836"/>
              <a:gd name="connsiteX60" fmla="*/ 36946 w 1885925"/>
              <a:gd name="connsiteY60" fmla="*/ 212754 h 1406836"/>
              <a:gd name="connsiteX61" fmla="*/ 18473 w 1885925"/>
              <a:gd name="connsiteY61" fmla="*/ 277408 h 1406836"/>
              <a:gd name="connsiteX62" fmla="*/ 27709 w 1885925"/>
              <a:gd name="connsiteY62" fmla="*/ 711517 h 1406836"/>
              <a:gd name="connsiteX63" fmla="*/ 36946 w 1885925"/>
              <a:gd name="connsiteY63" fmla="*/ 776172 h 1406836"/>
              <a:gd name="connsiteX64" fmla="*/ 46182 w 1885925"/>
              <a:gd name="connsiteY64" fmla="*/ 850063 h 1406836"/>
              <a:gd name="connsiteX65" fmla="*/ 27709 w 1885925"/>
              <a:gd name="connsiteY65" fmla="*/ 1210281 h 1406836"/>
              <a:gd name="connsiteX66" fmla="*/ 36946 w 1885925"/>
              <a:gd name="connsiteY66" fmla="*/ 1145626 h 1406836"/>
              <a:gd name="connsiteX67" fmla="*/ 46182 w 1885925"/>
              <a:gd name="connsiteY67" fmla="*/ 1117917 h 1406836"/>
              <a:gd name="connsiteX68" fmla="*/ 36946 w 1885925"/>
              <a:gd name="connsiteY68" fmla="*/ 748463 h 1406836"/>
              <a:gd name="connsiteX69" fmla="*/ 46182 w 1885925"/>
              <a:gd name="connsiteY69" fmla="*/ 683808 h 1406836"/>
              <a:gd name="connsiteX70" fmla="*/ 92364 w 1885925"/>
              <a:gd name="connsiteY70" fmla="*/ 609917 h 1406836"/>
              <a:gd name="connsiteX71" fmla="*/ 129309 w 1885925"/>
              <a:gd name="connsiteY71" fmla="*/ 600681 h 1406836"/>
              <a:gd name="connsiteX72" fmla="*/ 175491 w 1885925"/>
              <a:gd name="connsiteY72" fmla="*/ 572972 h 1406836"/>
              <a:gd name="connsiteX73" fmla="*/ 230909 w 1885925"/>
              <a:gd name="connsiteY73" fmla="*/ 536026 h 1406836"/>
              <a:gd name="connsiteX74" fmla="*/ 258618 w 1885925"/>
              <a:gd name="connsiteY74" fmla="*/ 526790 h 1406836"/>
              <a:gd name="connsiteX75" fmla="*/ 332509 w 1885925"/>
              <a:gd name="connsiteY75" fmla="*/ 499081 h 1406836"/>
              <a:gd name="connsiteX76" fmla="*/ 415637 w 1885925"/>
              <a:gd name="connsiteY76" fmla="*/ 480608 h 1406836"/>
              <a:gd name="connsiteX77" fmla="*/ 443346 w 1885925"/>
              <a:gd name="connsiteY77" fmla="*/ 471372 h 1406836"/>
              <a:gd name="connsiteX78" fmla="*/ 729673 w 1885925"/>
              <a:gd name="connsiteY78" fmla="*/ 462135 h 1406836"/>
              <a:gd name="connsiteX79" fmla="*/ 757382 w 1885925"/>
              <a:gd name="connsiteY79" fmla="*/ 452899 h 1406836"/>
              <a:gd name="connsiteX80" fmla="*/ 997528 w 1885925"/>
              <a:gd name="connsiteY80" fmla="*/ 480608 h 1406836"/>
              <a:gd name="connsiteX81" fmla="*/ 1034473 w 1885925"/>
              <a:gd name="connsiteY81" fmla="*/ 508317 h 1406836"/>
              <a:gd name="connsiteX82" fmla="*/ 1071418 w 1885925"/>
              <a:gd name="connsiteY82" fmla="*/ 591445 h 1406836"/>
              <a:gd name="connsiteX83" fmla="*/ 1062182 w 1885925"/>
              <a:gd name="connsiteY83" fmla="*/ 720754 h 1406836"/>
              <a:gd name="connsiteX84" fmla="*/ 1034473 w 1885925"/>
              <a:gd name="connsiteY84" fmla="*/ 729990 h 1406836"/>
              <a:gd name="connsiteX85" fmla="*/ 979055 w 1885925"/>
              <a:gd name="connsiteY85" fmla="*/ 757699 h 1406836"/>
              <a:gd name="connsiteX86" fmla="*/ 942109 w 1885925"/>
              <a:gd name="connsiteY86" fmla="*/ 794645 h 140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1885925" h="1406836">
                <a:moveTo>
                  <a:pt x="942109" y="794645"/>
                </a:moveTo>
                <a:cubicBezTo>
                  <a:pt x="937491" y="811578"/>
                  <a:pt x="942504" y="839405"/>
                  <a:pt x="951346" y="859299"/>
                </a:cubicBezTo>
                <a:cubicBezTo>
                  <a:pt x="955257" y="868099"/>
                  <a:pt x="1012853" y="894278"/>
                  <a:pt x="1016000" y="896245"/>
                </a:cubicBezTo>
                <a:cubicBezTo>
                  <a:pt x="1053654" y="919778"/>
                  <a:pt x="1095440" y="938737"/>
                  <a:pt x="1126837" y="970135"/>
                </a:cubicBezTo>
                <a:cubicBezTo>
                  <a:pt x="1139152" y="982450"/>
                  <a:pt x="1150559" y="995746"/>
                  <a:pt x="1163782" y="1007081"/>
                </a:cubicBezTo>
                <a:cubicBezTo>
                  <a:pt x="1172210" y="1014305"/>
                  <a:pt x="1184024" y="1017340"/>
                  <a:pt x="1191491" y="1025554"/>
                </a:cubicBezTo>
                <a:cubicBezTo>
                  <a:pt x="1215104" y="1051529"/>
                  <a:pt x="1236675" y="1079473"/>
                  <a:pt x="1256146" y="1108681"/>
                </a:cubicBezTo>
                <a:cubicBezTo>
                  <a:pt x="1262303" y="1117917"/>
                  <a:pt x="1267512" y="1127862"/>
                  <a:pt x="1274618" y="1136390"/>
                </a:cubicBezTo>
                <a:cubicBezTo>
                  <a:pt x="1282980" y="1146425"/>
                  <a:pt x="1293091" y="1154863"/>
                  <a:pt x="1302328" y="1164099"/>
                </a:cubicBezTo>
                <a:cubicBezTo>
                  <a:pt x="1308485" y="1176414"/>
                  <a:pt x="1315376" y="1188389"/>
                  <a:pt x="1320800" y="1201045"/>
                </a:cubicBezTo>
                <a:cubicBezTo>
                  <a:pt x="1333862" y="1231523"/>
                  <a:pt x="1342917" y="1263749"/>
                  <a:pt x="1357746" y="1293408"/>
                </a:cubicBezTo>
                <a:lnTo>
                  <a:pt x="1385455" y="1348826"/>
                </a:lnTo>
                <a:cubicBezTo>
                  <a:pt x="1388534" y="1367299"/>
                  <a:pt x="1394691" y="1385517"/>
                  <a:pt x="1394691" y="1404245"/>
                </a:cubicBezTo>
                <a:cubicBezTo>
                  <a:pt x="1394691" y="1416939"/>
                  <a:pt x="1388942" y="1379505"/>
                  <a:pt x="1385455" y="1367299"/>
                </a:cubicBezTo>
                <a:cubicBezTo>
                  <a:pt x="1382780" y="1357938"/>
                  <a:pt x="1380572" y="1348298"/>
                  <a:pt x="1376218" y="1339590"/>
                </a:cubicBezTo>
                <a:cubicBezTo>
                  <a:pt x="1364817" y="1316789"/>
                  <a:pt x="1332702" y="1282702"/>
                  <a:pt x="1320800" y="1265699"/>
                </a:cubicBezTo>
                <a:cubicBezTo>
                  <a:pt x="1310505" y="1250992"/>
                  <a:pt x="1302606" y="1234741"/>
                  <a:pt x="1293091" y="1219517"/>
                </a:cubicBezTo>
                <a:cubicBezTo>
                  <a:pt x="1287208" y="1210104"/>
                  <a:pt x="1280776" y="1201044"/>
                  <a:pt x="1274618" y="1191808"/>
                </a:cubicBezTo>
                <a:cubicBezTo>
                  <a:pt x="1240283" y="1088803"/>
                  <a:pt x="1227326" y="1084235"/>
                  <a:pt x="1256146" y="951663"/>
                </a:cubicBezTo>
                <a:cubicBezTo>
                  <a:pt x="1260862" y="929968"/>
                  <a:pt x="1280187" y="914311"/>
                  <a:pt x="1293091" y="896245"/>
                </a:cubicBezTo>
                <a:cubicBezTo>
                  <a:pt x="1304200" y="880692"/>
                  <a:pt x="1357715" y="803241"/>
                  <a:pt x="1385455" y="785408"/>
                </a:cubicBezTo>
                <a:cubicBezTo>
                  <a:pt x="1414410" y="766794"/>
                  <a:pt x="1450280" y="759879"/>
                  <a:pt x="1477818" y="739226"/>
                </a:cubicBezTo>
                <a:cubicBezTo>
                  <a:pt x="1490133" y="729990"/>
                  <a:pt x="1500471" y="717234"/>
                  <a:pt x="1514764" y="711517"/>
                </a:cubicBezTo>
                <a:cubicBezTo>
                  <a:pt x="1547357" y="698480"/>
                  <a:pt x="1582687" y="693713"/>
                  <a:pt x="1616364" y="683808"/>
                </a:cubicBezTo>
                <a:cubicBezTo>
                  <a:pt x="1635045" y="678314"/>
                  <a:pt x="1652489" y="667966"/>
                  <a:pt x="1671782" y="665335"/>
                </a:cubicBezTo>
                <a:cubicBezTo>
                  <a:pt x="1720686" y="658666"/>
                  <a:pt x="1770303" y="659178"/>
                  <a:pt x="1819564" y="656099"/>
                </a:cubicBezTo>
                <a:cubicBezTo>
                  <a:pt x="1841115" y="653020"/>
                  <a:pt x="1896294" y="664977"/>
                  <a:pt x="1884218" y="646863"/>
                </a:cubicBezTo>
                <a:cubicBezTo>
                  <a:pt x="1868473" y="623245"/>
                  <a:pt x="1828019" y="637366"/>
                  <a:pt x="1801091" y="628390"/>
                </a:cubicBezTo>
                <a:cubicBezTo>
                  <a:pt x="1790560" y="624880"/>
                  <a:pt x="1782415" y="616369"/>
                  <a:pt x="1773382" y="609917"/>
                </a:cubicBezTo>
                <a:cubicBezTo>
                  <a:pt x="1760856" y="600969"/>
                  <a:pt x="1748022" y="592345"/>
                  <a:pt x="1736437" y="582208"/>
                </a:cubicBezTo>
                <a:cubicBezTo>
                  <a:pt x="1723330" y="570739"/>
                  <a:pt x="1713663" y="555386"/>
                  <a:pt x="1699491" y="545263"/>
                </a:cubicBezTo>
                <a:cubicBezTo>
                  <a:pt x="1691568" y="539604"/>
                  <a:pt x="1681018" y="539105"/>
                  <a:pt x="1671782" y="536026"/>
                </a:cubicBezTo>
                <a:cubicBezTo>
                  <a:pt x="1656388" y="520632"/>
                  <a:pt x="1641984" y="504181"/>
                  <a:pt x="1625600" y="489845"/>
                </a:cubicBezTo>
                <a:cubicBezTo>
                  <a:pt x="1617246" y="482535"/>
                  <a:pt x="1606924" y="477824"/>
                  <a:pt x="1597891" y="471372"/>
                </a:cubicBezTo>
                <a:cubicBezTo>
                  <a:pt x="1573843" y="454195"/>
                  <a:pt x="1522577" y="414530"/>
                  <a:pt x="1505528" y="397481"/>
                </a:cubicBezTo>
                <a:cubicBezTo>
                  <a:pt x="1497679" y="389632"/>
                  <a:pt x="1494904" y="377621"/>
                  <a:pt x="1487055" y="369772"/>
                </a:cubicBezTo>
                <a:cubicBezTo>
                  <a:pt x="1406020" y="288737"/>
                  <a:pt x="1522193" y="435095"/>
                  <a:pt x="1431637" y="314354"/>
                </a:cubicBezTo>
                <a:cubicBezTo>
                  <a:pt x="1428558" y="305118"/>
                  <a:pt x="1426754" y="295353"/>
                  <a:pt x="1422400" y="286645"/>
                </a:cubicBezTo>
                <a:cubicBezTo>
                  <a:pt x="1401579" y="245003"/>
                  <a:pt x="1392765" y="239613"/>
                  <a:pt x="1366982" y="203517"/>
                </a:cubicBezTo>
                <a:cubicBezTo>
                  <a:pt x="1344479" y="172013"/>
                  <a:pt x="1352574" y="175334"/>
                  <a:pt x="1320800" y="148099"/>
                </a:cubicBezTo>
                <a:cubicBezTo>
                  <a:pt x="1309112" y="138081"/>
                  <a:pt x="1294740" y="131275"/>
                  <a:pt x="1283855" y="120390"/>
                </a:cubicBezTo>
                <a:cubicBezTo>
                  <a:pt x="1250165" y="86700"/>
                  <a:pt x="1281303" y="92094"/>
                  <a:pt x="1237673" y="55735"/>
                </a:cubicBezTo>
                <a:cubicBezTo>
                  <a:pt x="1230194" y="49502"/>
                  <a:pt x="1219200" y="49578"/>
                  <a:pt x="1209964" y="46499"/>
                </a:cubicBezTo>
                <a:cubicBezTo>
                  <a:pt x="1200728" y="40341"/>
                  <a:pt x="1190783" y="35133"/>
                  <a:pt x="1182255" y="28026"/>
                </a:cubicBezTo>
                <a:cubicBezTo>
                  <a:pt x="1144998" y="-3022"/>
                  <a:pt x="1150119" y="-21820"/>
                  <a:pt x="1163782" y="46499"/>
                </a:cubicBezTo>
                <a:cubicBezTo>
                  <a:pt x="1157624" y="114232"/>
                  <a:pt x="1160602" y="183428"/>
                  <a:pt x="1145309" y="249699"/>
                </a:cubicBezTo>
                <a:cubicBezTo>
                  <a:pt x="1141393" y="266669"/>
                  <a:pt x="1123133" y="277414"/>
                  <a:pt x="1108364" y="286645"/>
                </a:cubicBezTo>
                <a:cubicBezTo>
                  <a:pt x="1097599" y="293373"/>
                  <a:pt x="1083665" y="292541"/>
                  <a:pt x="1071418" y="295881"/>
                </a:cubicBezTo>
                <a:cubicBezTo>
                  <a:pt x="1049794" y="301778"/>
                  <a:pt x="1027684" y="306308"/>
                  <a:pt x="1006764" y="314354"/>
                </a:cubicBezTo>
                <a:cubicBezTo>
                  <a:pt x="987488" y="321768"/>
                  <a:pt x="971160" y="336235"/>
                  <a:pt x="951346" y="342063"/>
                </a:cubicBezTo>
                <a:cubicBezTo>
                  <a:pt x="918323" y="351776"/>
                  <a:pt x="883560" y="354094"/>
                  <a:pt x="849746" y="360535"/>
                </a:cubicBezTo>
                <a:cubicBezTo>
                  <a:pt x="818903" y="366410"/>
                  <a:pt x="788415" y="374234"/>
                  <a:pt x="757382" y="379008"/>
                </a:cubicBezTo>
                <a:cubicBezTo>
                  <a:pt x="708315" y="386557"/>
                  <a:pt x="658522" y="389046"/>
                  <a:pt x="609600" y="397481"/>
                </a:cubicBezTo>
                <a:cubicBezTo>
                  <a:pt x="569121" y="404460"/>
                  <a:pt x="529552" y="415954"/>
                  <a:pt x="489528" y="425190"/>
                </a:cubicBezTo>
                <a:cubicBezTo>
                  <a:pt x="117147" y="417095"/>
                  <a:pt x="131527" y="533566"/>
                  <a:pt x="27709" y="360535"/>
                </a:cubicBezTo>
                <a:cubicBezTo>
                  <a:pt x="10591" y="332005"/>
                  <a:pt x="9555" y="324544"/>
                  <a:pt x="0" y="295881"/>
                </a:cubicBezTo>
                <a:cubicBezTo>
                  <a:pt x="2798" y="262313"/>
                  <a:pt x="6099" y="150772"/>
                  <a:pt x="27709" y="111154"/>
                </a:cubicBezTo>
                <a:cubicBezTo>
                  <a:pt x="36701" y="94669"/>
                  <a:pt x="85741" y="72902"/>
                  <a:pt x="101600" y="64972"/>
                </a:cubicBezTo>
                <a:cubicBezTo>
                  <a:pt x="110836" y="68051"/>
                  <a:pt x="129309" y="64472"/>
                  <a:pt x="129309" y="74208"/>
                </a:cubicBezTo>
                <a:cubicBezTo>
                  <a:pt x="129309" y="87270"/>
                  <a:pt x="108846" y="91049"/>
                  <a:pt x="101600" y="101917"/>
                </a:cubicBezTo>
                <a:cubicBezTo>
                  <a:pt x="77875" y="137506"/>
                  <a:pt x="36946" y="212754"/>
                  <a:pt x="36946" y="212754"/>
                </a:cubicBezTo>
                <a:cubicBezTo>
                  <a:pt x="30788" y="234305"/>
                  <a:pt x="18888" y="254998"/>
                  <a:pt x="18473" y="277408"/>
                </a:cubicBezTo>
                <a:cubicBezTo>
                  <a:pt x="15793" y="422119"/>
                  <a:pt x="22352" y="566880"/>
                  <a:pt x="27709" y="711517"/>
                </a:cubicBezTo>
                <a:cubicBezTo>
                  <a:pt x="28515" y="733273"/>
                  <a:pt x="34069" y="754592"/>
                  <a:pt x="36946" y="776172"/>
                </a:cubicBezTo>
                <a:cubicBezTo>
                  <a:pt x="40227" y="800776"/>
                  <a:pt x="43103" y="825433"/>
                  <a:pt x="46182" y="850063"/>
                </a:cubicBezTo>
                <a:cubicBezTo>
                  <a:pt x="40024" y="970136"/>
                  <a:pt x="31464" y="1090109"/>
                  <a:pt x="27709" y="1210281"/>
                </a:cubicBezTo>
                <a:cubicBezTo>
                  <a:pt x="27029" y="1232041"/>
                  <a:pt x="32676" y="1166974"/>
                  <a:pt x="36946" y="1145626"/>
                </a:cubicBezTo>
                <a:cubicBezTo>
                  <a:pt x="38855" y="1136079"/>
                  <a:pt x="43103" y="1127153"/>
                  <a:pt x="46182" y="1117917"/>
                </a:cubicBezTo>
                <a:cubicBezTo>
                  <a:pt x="43103" y="994766"/>
                  <a:pt x="36946" y="871653"/>
                  <a:pt x="36946" y="748463"/>
                </a:cubicBezTo>
                <a:cubicBezTo>
                  <a:pt x="36946" y="726693"/>
                  <a:pt x="42288" y="705227"/>
                  <a:pt x="46182" y="683808"/>
                </a:cubicBezTo>
                <a:cubicBezTo>
                  <a:pt x="52926" y="646715"/>
                  <a:pt x="55657" y="632859"/>
                  <a:pt x="92364" y="609917"/>
                </a:cubicBezTo>
                <a:cubicBezTo>
                  <a:pt x="103128" y="603189"/>
                  <a:pt x="116994" y="603760"/>
                  <a:pt x="129309" y="600681"/>
                </a:cubicBezTo>
                <a:cubicBezTo>
                  <a:pt x="144703" y="591445"/>
                  <a:pt x="160345" y="582610"/>
                  <a:pt x="175491" y="572972"/>
                </a:cubicBezTo>
                <a:cubicBezTo>
                  <a:pt x="194222" y="561052"/>
                  <a:pt x="209847" y="543047"/>
                  <a:pt x="230909" y="536026"/>
                </a:cubicBezTo>
                <a:cubicBezTo>
                  <a:pt x="240145" y="532947"/>
                  <a:pt x="249468" y="530117"/>
                  <a:pt x="258618" y="526790"/>
                </a:cubicBezTo>
                <a:cubicBezTo>
                  <a:pt x="283339" y="517800"/>
                  <a:pt x="307554" y="507399"/>
                  <a:pt x="332509" y="499081"/>
                </a:cubicBezTo>
                <a:cubicBezTo>
                  <a:pt x="360941" y="489604"/>
                  <a:pt x="386371" y="487925"/>
                  <a:pt x="415637" y="480608"/>
                </a:cubicBezTo>
                <a:cubicBezTo>
                  <a:pt x="425082" y="478247"/>
                  <a:pt x="433627" y="471944"/>
                  <a:pt x="443346" y="471372"/>
                </a:cubicBezTo>
                <a:cubicBezTo>
                  <a:pt x="538673" y="465764"/>
                  <a:pt x="634231" y="465214"/>
                  <a:pt x="729673" y="462135"/>
                </a:cubicBezTo>
                <a:cubicBezTo>
                  <a:pt x="738909" y="459056"/>
                  <a:pt x="747653" y="452525"/>
                  <a:pt x="757382" y="452899"/>
                </a:cubicBezTo>
                <a:cubicBezTo>
                  <a:pt x="942983" y="460038"/>
                  <a:pt x="907390" y="450564"/>
                  <a:pt x="997528" y="480608"/>
                </a:cubicBezTo>
                <a:cubicBezTo>
                  <a:pt x="1009843" y="489844"/>
                  <a:pt x="1024336" y="496732"/>
                  <a:pt x="1034473" y="508317"/>
                </a:cubicBezTo>
                <a:cubicBezTo>
                  <a:pt x="1062436" y="540275"/>
                  <a:pt x="1062267" y="554838"/>
                  <a:pt x="1071418" y="591445"/>
                </a:cubicBezTo>
                <a:cubicBezTo>
                  <a:pt x="1068339" y="634548"/>
                  <a:pt x="1073316" y="679000"/>
                  <a:pt x="1062182" y="720754"/>
                </a:cubicBezTo>
                <a:cubicBezTo>
                  <a:pt x="1059673" y="730161"/>
                  <a:pt x="1043370" y="726036"/>
                  <a:pt x="1034473" y="729990"/>
                </a:cubicBezTo>
                <a:cubicBezTo>
                  <a:pt x="1015600" y="738378"/>
                  <a:pt x="997109" y="747669"/>
                  <a:pt x="979055" y="757699"/>
                </a:cubicBezTo>
                <a:cubicBezTo>
                  <a:pt x="939656" y="779588"/>
                  <a:pt x="946727" y="777712"/>
                  <a:pt x="942109" y="794645"/>
                </a:cubicBezTo>
                <a:close/>
              </a:path>
            </a:pathLst>
          </a:custGeom>
          <a:noFill/>
          <a:ln w="28575">
            <a:solidFill>
              <a:srgbClr val="40978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13" name="Teardrop 12">
            <a:extLst>
              <a:ext uri="{FF2B5EF4-FFF2-40B4-BE49-F238E27FC236}">
                <a16:creationId xmlns:a16="http://schemas.microsoft.com/office/drawing/2014/main" id="{2D60DD46-D0BC-1966-5D1C-84C7E4D5961B}"/>
              </a:ext>
            </a:extLst>
          </p:cNvPr>
          <p:cNvSpPr/>
          <p:nvPr/>
        </p:nvSpPr>
        <p:spPr>
          <a:xfrm rot="8071738">
            <a:off x="10469728" y="1830057"/>
            <a:ext cx="103339" cy="103339"/>
          </a:xfrm>
          <a:prstGeom prst="teardrop">
            <a:avLst/>
          </a:prstGeom>
          <a:noFill/>
          <a:ln w="38100">
            <a:solidFill>
              <a:srgbClr val="96C2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14" name="Teardrop 13">
            <a:extLst>
              <a:ext uri="{FF2B5EF4-FFF2-40B4-BE49-F238E27FC236}">
                <a16:creationId xmlns:a16="http://schemas.microsoft.com/office/drawing/2014/main" id="{BEA26D9C-B944-C18C-FEFC-CCF51D29886F}"/>
              </a:ext>
            </a:extLst>
          </p:cNvPr>
          <p:cNvSpPr/>
          <p:nvPr/>
        </p:nvSpPr>
        <p:spPr>
          <a:xfrm rot="8071738">
            <a:off x="10813420" y="2934198"/>
            <a:ext cx="103339" cy="103339"/>
          </a:xfrm>
          <a:prstGeom prst="teardrop">
            <a:avLst/>
          </a:prstGeom>
          <a:noFill/>
          <a:ln w="38100">
            <a:solidFill>
              <a:srgbClr val="96C2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15" name="Teardrop 14">
            <a:extLst>
              <a:ext uri="{FF2B5EF4-FFF2-40B4-BE49-F238E27FC236}">
                <a16:creationId xmlns:a16="http://schemas.microsoft.com/office/drawing/2014/main" id="{AB230A86-C419-543C-5911-185B5C07920E}"/>
              </a:ext>
            </a:extLst>
          </p:cNvPr>
          <p:cNvSpPr/>
          <p:nvPr/>
        </p:nvSpPr>
        <p:spPr>
          <a:xfrm rot="8071738">
            <a:off x="9750815" y="3450399"/>
            <a:ext cx="103339" cy="103339"/>
          </a:xfrm>
          <a:prstGeom prst="teardrop">
            <a:avLst/>
          </a:prstGeom>
          <a:noFill/>
          <a:ln w="38100">
            <a:solidFill>
              <a:srgbClr val="96C2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16" name="Teardrop 15">
            <a:extLst>
              <a:ext uri="{FF2B5EF4-FFF2-40B4-BE49-F238E27FC236}">
                <a16:creationId xmlns:a16="http://schemas.microsoft.com/office/drawing/2014/main" id="{77CF38EF-5A3D-DCF6-2B60-7D9723B6FA5B}"/>
              </a:ext>
            </a:extLst>
          </p:cNvPr>
          <p:cNvSpPr/>
          <p:nvPr/>
        </p:nvSpPr>
        <p:spPr>
          <a:xfrm rot="8071738">
            <a:off x="9439875" y="3831561"/>
            <a:ext cx="103339" cy="103339"/>
          </a:xfrm>
          <a:prstGeom prst="teardrop">
            <a:avLst/>
          </a:prstGeom>
          <a:noFill/>
          <a:ln w="38100">
            <a:solidFill>
              <a:srgbClr val="96C2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17" name="Teardrop 16">
            <a:extLst>
              <a:ext uri="{FF2B5EF4-FFF2-40B4-BE49-F238E27FC236}">
                <a16:creationId xmlns:a16="http://schemas.microsoft.com/office/drawing/2014/main" id="{323BA8A8-16AA-1BB4-E66F-D05FE8854AA1}"/>
              </a:ext>
            </a:extLst>
          </p:cNvPr>
          <p:cNvSpPr/>
          <p:nvPr/>
        </p:nvSpPr>
        <p:spPr>
          <a:xfrm rot="8071738">
            <a:off x="8400454" y="4290775"/>
            <a:ext cx="103339" cy="103339"/>
          </a:xfrm>
          <a:prstGeom prst="teardrop">
            <a:avLst/>
          </a:prstGeom>
          <a:noFill/>
          <a:ln w="38100">
            <a:solidFill>
              <a:srgbClr val="96C2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18" name="Teardrop 17">
            <a:extLst>
              <a:ext uri="{FF2B5EF4-FFF2-40B4-BE49-F238E27FC236}">
                <a16:creationId xmlns:a16="http://schemas.microsoft.com/office/drawing/2014/main" id="{89B81D46-472E-220B-E9A5-17F59456E42C}"/>
              </a:ext>
            </a:extLst>
          </p:cNvPr>
          <p:cNvSpPr/>
          <p:nvPr/>
        </p:nvSpPr>
        <p:spPr>
          <a:xfrm rot="8071738">
            <a:off x="7540899" y="3194143"/>
            <a:ext cx="103339" cy="103339"/>
          </a:xfrm>
          <a:prstGeom prst="teardrop">
            <a:avLst/>
          </a:prstGeom>
          <a:noFill/>
          <a:ln w="38100">
            <a:solidFill>
              <a:srgbClr val="96C2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19" name="Teardrop 18">
            <a:extLst>
              <a:ext uri="{FF2B5EF4-FFF2-40B4-BE49-F238E27FC236}">
                <a16:creationId xmlns:a16="http://schemas.microsoft.com/office/drawing/2014/main" id="{6062B1BD-130A-2BFF-AE73-6F2355C611A0}"/>
              </a:ext>
            </a:extLst>
          </p:cNvPr>
          <p:cNvSpPr/>
          <p:nvPr/>
        </p:nvSpPr>
        <p:spPr>
          <a:xfrm rot="8071738">
            <a:off x="9600729" y="3135446"/>
            <a:ext cx="103339" cy="103339"/>
          </a:xfrm>
          <a:prstGeom prst="teardrop">
            <a:avLst/>
          </a:prstGeom>
          <a:noFill/>
          <a:ln w="38100">
            <a:solidFill>
              <a:srgbClr val="96C2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20" name="Teardrop 19">
            <a:extLst>
              <a:ext uri="{FF2B5EF4-FFF2-40B4-BE49-F238E27FC236}">
                <a16:creationId xmlns:a16="http://schemas.microsoft.com/office/drawing/2014/main" id="{0555B4AC-33B6-0DEF-C8A0-65D86EA15F8C}"/>
              </a:ext>
            </a:extLst>
          </p:cNvPr>
          <p:cNvSpPr/>
          <p:nvPr/>
        </p:nvSpPr>
        <p:spPr>
          <a:xfrm rot="8071738">
            <a:off x="8931546" y="2786193"/>
            <a:ext cx="103339" cy="103339"/>
          </a:xfrm>
          <a:prstGeom prst="teardrop">
            <a:avLst/>
          </a:prstGeom>
          <a:noFill/>
          <a:ln w="38100">
            <a:solidFill>
              <a:srgbClr val="96C25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21" name="Teardrop 20">
            <a:extLst>
              <a:ext uri="{FF2B5EF4-FFF2-40B4-BE49-F238E27FC236}">
                <a16:creationId xmlns:a16="http://schemas.microsoft.com/office/drawing/2014/main" id="{FA491ED6-49CF-B0F2-AC34-3A354B7BE355}"/>
              </a:ext>
            </a:extLst>
          </p:cNvPr>
          <p:cNvSpPr/>
          <p:nvPr/>
        </p:nvSpPr>
        <p:spPr>
          <a:xfrm rot="8071738">
            <a:off x="8503141" y="1737575"/>
            <a:ext cx="103339" cy="103339"/>
          </a:xfrm>
          <a:prstGeom prst="teardrop">
            <a:avLst/>
          </a:prstGeom>
          <a:noFill/>
          <a:ln w="38100">
            <a:solidFill>
              <a:srgbClr val="40978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22" name="Teardrop 21">
            <a:extLst>
              <a:ext uri="{FF2B5EF4-FFF2-40B4-BE49-F238E27FC236}">
                <a16:creationId xmlns:a16="http://schemas.microsoft.com/office/drawing/2014/main" id="{5AB70B17-15E5-8A36-82FB-7AEF6B54E681}"/>
              </a:ext>
            </a:extLst>
          </p:cNvPr>
          <p:cNvSpPr/>
          <p:nvPr/>
        </p:nvSpPr>
        <p:spPr>
          <a:xfrm rot="8071738">
            <a:off x="7438753" y="1789020"/>
            <a:ext cx="103339" cy="103339"/>
          </a:xfrm>
          <a:prstGeom prst="teardrop">
            <a:avLst/>
          </a:prstGeom>
          <a:noFill/>
          <a:ln w="38100">
            <a:solidFill>
              <a:srgbClr val="40978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23" name="Teardrop 22">
            <a:extLst>
              <a:ext uri="{FF2B5EF4-FFF2-40B4-BE49-F238E27FC236}">
                <a16:creationId xmlns:a16="http://schemas.microsoft.com/office/drawing/2014/main" id="{3B687ABB-1241-8336-E0BD-D7F8A8CAD093}"/>
              </a:ext>
            </a:extLst>
          </p:cNvPr>
          <p:cNvSpPr/>
          <p:nvPr/>
        </p:nvSpPr>
        <p:spPr>
          <a:xfrm rot="8071738">
            <a:off x="9272139" y="2406773"/>
            <a:ext cx="103339" cy="103339"/>
          </a:xfrm>
          <a:prstGeom prst="teardrop">
            <a:avLst/>
          </a:prstGeom>
          <a:noFill/>
          <a:ln w="38100">
            <a:solidFill>
              <a:srgbClr val="40978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24" name="Teardrop 23">
            <a:extLst>
              <a:ext uri="{FF2B5EF4-FFF2-40B4-BE49-F238E27FC236}">
                <a16:creationId xmlns:a16="http://schemas.microsoft.com/office/drawing/2014/main" id="{594CE89E-2C80-43DB-687A-AE2C45814E75}"/>
              </a:ext>
            </a:extLst>
          </p:cNvPr>
          <p:cNvSpPr/>
          <p:nvPr/>
        </p:nvSpPr>
        <p:spPr>
          <a:xfrm rot="8071738">
            <a:off x="8803508" y="3145286"/>
            <a:ext cx="103339" cy="103339"/>
          </a:xfrm>
          <a:prstGeom prst="teardrop">
            <a:avLst/>
          </a:prstGeom>
          <a:noFill/>
          <a:ln w="38100">
            <a:solidFill>
              <a:srgbClr val="40978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25" name="Teardrop 24">
            <a:extLst>
              <a:ext uri="{FF2B5EF4-FFF2-40B4-BE49-F238E27FC236}">
                <a16:creationId xmlns:a16="http://schemas.microsoft.com/office/drawing/2014/main" id="{DA179E82-EDC2-0214-0195-699C913454A7}"/>
              </a:ext>
            </a:extLst>
          </p:cNvPr>
          <p:cNvSpPr/>
          <p:nvPr/>
        </p:nvSpPr>
        <p:spPr>
          <a:xfrm rot="8071738">
            <a:off x="7438753" y="3047566"/>
            <a:ext cx="103339" cy="103339"/>
          </a:xfrm>
          <a:prstGeom prst="teardrop">
            <a:avLst/>
          </a:prstGeom>
          <a:noFill/>
          <a:ln w="38100">
            <a:solidFill>
              <a:srgbClr val="40978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
        <p:nvSpPr>
          <p:cNvPr id="26" name="Teardrop 25">
            <a:extLst>
              <a:ext uri="{FF2B5EF4-FFF2-40B4-BE49-F238E27FC236}">
                <a16:creationId xmlns:a16="http://schemas.microsoft.com/office/drawing/2014/main" id="{BE448CAA-9AE0-350A-C13D-93EBA2D90CB5}"/>
              </a:ext>
            </a:extLst>
          </p:cNvPr>
          <p:cNvSpPr/>
          <p:nvPr/>
        </p:nvSpPr>
        <p:spPr>
          <a:xfrm rot="8071738">
            <a:off x="7834261" y="4638984"/>
            <a:ext cx="103339" cy="103339"/>
          </a:xfrm>
          <a:prstGeom prst="teardrop">
            <a:avLst/>
          </a:prstGeom>
          <a:noFill/>
          <a:ln w="38100">
            <a:solidFill>
              <a:srgbClr val="FAA41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1F2F2"/>
              </a:solidFill>
              <a:effectLst/>
              <a:uLnTx/>
              <a:uFillTx/>
              <a:latin typeface="Arial"/>
              <a:ea typeface="+mn-ea"/>
              <a:cs typeface="+mn-cs"/>
            </a:endParaRPr>
          </a:p>
        </p:txBody>
      </p:sp>
    </p:spTree>
    <p:extLst>
      <p:ext uri="{BB962C8B-B14F-4D97-AF65-F5344CB8AC3E}">
        <p14:creationId xmlns:p14="http://schemas.microsoft.com/office/powerpoint/2010/main" val="16026509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PSPC">
      <a:dk1>
        <a:srgbClr val="000000"/>
      </a:dk1>
      <a:lt1>
        <a:srgbClr val="F1F2F2"/>
      </a:lt1>
      <a:dk2>
        <a:srgbClr val="000000"/>
      </a:dk2>
      <a:lt2>
        <a:srgbClr val="F1F2F2"/>
      </a:lt2>
      <a:accent1>
        <a:srgbClr val="1E3652"/>
      </a:accent1>
      <a:accent2>
        <a:srgbClr val="636466"/>
      </a:accent2>
      <a:accent3>
        <a:srgbClr val="C3D941"/>
      </a:accent3>
      <a:accent4>
        <a:srgbClr val="A79F8F"/>
      </a:accent4>
      <a:accent5>
        <a:srgbClr val="BB583E"/>
      </a:accent5>
      <a:accent6>
        <a:srgbClr val="9D1F63"/>
      </a:accent6>
      <a:hlink>
        <a:srgbClr val="1E3652"/>
      </a:hlink>
      <a:folHlink>
        <a:srgbClr val="9D1F63"/>
      </a:folHlink>
    </a:clrScheme>
    <a:fontScheme name="PSP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5</TotalTime>
  <Words>1206</Words>
  <Application>Microsoft Office PowerPoint</Application>
  <PresentationFormat>Widescreen</PresentationFormat>
  <Paragraphs>174</Paragraphs>
  <Slides>19</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7" baseType="lpstr">
      <vt:lpstr>Arial</vt:lpstr>
      <vt:lpstr>Avenir Next LT Pro Demi</vt:lpstr>
      <vt:lpstr>Avenir Next LT Pro Light</vt:lpstr>
      <vt:lpstr>Calibri</vt:lpstr>
      <vt:lpstr>Wingdings</vt:lpstr>
      <vt:lpstr>Wingdings 2</vt:lpstr>
      <vt:lpstr>1_Office Theme</vt:lpstr>
      <vt:lpstr>think-cell Slide</vt:lpstr>
      <vt:lpstr>PowerPoint Presentation</vt:lpstr>
      <vt:lpstr>Hybrid Work Models &amp; Workplace Utilization</vt:lpstr>
      <vt:lpstr>The Return to Office Looks Different for Everyone </vt:lpstr>
      <vt:lpstr>Accommodating More with Less</vt:lpstr>
      <vt:lpstr>Managing Occupancy &amp; the Employee Experience</vt:lpstr>
      <vt:lpstr>Differences in Workplace Types </vt:lpstr>
      <vt:lpstr>GCworkplace &amp; Activity Based Working</vt:lpstr>
      <vt:lpstr>A Space Designed to be Unassigned</vt:lpstr>
      <vt:lpstr>GCworkplace is Inclusive</vt:lpstr>
      <vt:lpstr>Shift in Mindset from “Me Space” to “We Space”</vt:lpstr>
      <vt:lpstr>Space Booking Considerations for       GCworkplace</vt:lpstr>
      <vt:lpstr>PowerPoint Presentation</vt:lpstr>
      <vt:lpstr>PowerPoint Presentation</vt:lpstr>
      <vt:lpstr>PowerPoint Presentation</vt:lpstr>
      <vt:lpstr>Utilization Opportunities for Workplace 2.0 Spaces</vt:lpstr>
      <vt:lpstr>Space Booking Considerations for Workplace 2.0</vt:lpstr>
      <vt:lpstr>Space Booking Considerations for Traditional Workplaces</vt:lpstr>
      <vt:lpstr>Summary</vt:lpstr>
      <vt:lpstr>PowerPoint Presentation</vt:lpstr>
    </vt:vector>
  </TitlesOfParts>
  <Company>Government of Canad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oton, Véronique (SPAC/PSPC)</dc:creator>
  <cp:lastModifiedBy>Boton, Véronique (SPAC/PSPC)</cp:lastModifiedBy>
  <cp:revision>1</cp:revision>
  <dcterms:created xsi:type="dcterms:W3CDTF">2023-02-17T17:57:32Z</dcterms:created>
  <dcterms:modified xsi:type="dcterms:W3CDTF">2023-02-17T19:52: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3-02-17T17:57:32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dd636d5a-5ec6-4da6-a13d-32456ef9744c</vt:lpwstr>
  </property>
  <property fmtid="{D5CDD505-2E9C-101B-9397-08002B2CF9AE}" pid="8" name="MSIP_Label_834ed4f5-eae4-40c7-82be-b1cdf720a1b9_ContentBits">
    <vt:lpwstr>1</vt:lpwstr>
  </property>
  <property fmtid="{D5CDD505-2E9C-101B-9397-08002B2CF9AE}" pid="9" name="ClassificationContentMarkingHeaderLocations">
    <vt:lpwstr>Office Theme:8</vt:lpwstr>
  </property>
  <property fmtid="{D5CDD505-2E9C-101B-9397-08002B2CF9AE}" pid="10" name="ClassificationContentMarkingHeaderText">
    <vt:lpwstr>UNCLASSIFIED - NON CLASSIFIÉ</vt:lpwstr>
  </property>
</Properties>
</file>